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colors11.xml" ContentType="application/vnd.openxmlformats-officedocument.drawingml.diagramColors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diagrams/quickStyle17.xml" ContentType="application/vnd.openxmlformats-officedocument.drawingml.diagramStyle+xml"/>
  <Override PartName="/ppt/diagrams/drawing18.xml" ContentType="application/vnd.ms-office.drawingml.diagramDrawing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diagrams/layout17.xml" ContentType="application/vnd.openxmlformats-officedocument.drawingml.diagramLayou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rawing7.xml" ContentType="application/vnd.ms-office.drawingml.diagramDrawing+xml"/>
  <Override PartName="/ppt/notesSlides/notesSlide7.xml" ContentType="application/vnd.openxmlformats-officedocument.presentationml.notesSlide+xml"/>
  <Override PartName="/ppt/diagrams/layout13.xml" ContentType="application/vnd.openxmlformats-officedocument.drawingml.diagramLayout+xml"/>
  <Override PartName="/ppt/diagrams/quickStyle20.xml" ContentType="application/vnd.openxmlformats-officedocument.drawingml.diagramStyle+xml"/>
  <Override PartName="/ppt/diagrams/drawing21.xml" ContentType="application/vnd.ms-office.drawingml.diagramDrawing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10.xml" ContentType="application/vnd.ms-office.drawingml.diagramDrawing+xml"/>
  <Override PartName="/ppt/diagrams/colors16.xml" ContentType="application/vnd.openxmlformats-officedocument.drawingml.diagramColors+xml"/>
  <Override PartName="/ppt/diagrams/data18.xml" ContentType="application/vnd.openxmlformats-officedocument.drawingml.diagramData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diagrams/colors12.xml" ContentType="application/vnd.openxmlformats-officedocument.drawingml.diagramColors+xml"/>
  <Override PartName="/ppt/diagrams/layout20.xml" ContentType="application/vnd.openxmlformats-officedocument.drawingml.diagramLayout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diagrams/drawing19.xml" ContentType="application/vnd.ms-office.drawingml.diagramDrawing+xml"/>
  <Override PartName="/ppt/diagrams/data21.xml" ContentType="application/vnd.openxmlformats-officedocument.drawingml.diagramData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ppt/diagrams/quickStyle18.xml" ContentType="application/vnd.openxmlformats-officedocument.drawingml.diagramStyl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quickStyle14.xml" ContentType="application/vnd.openxmlformats-officedocument.drawingml.diagramStyle+xml"/>
  <Override PartName="/ppt/diagrams/drawing15.xml" ContentType="application/vnd.ms-office.drawingml.diagramDrawing+xml"/>
  <Override PartName="/ppt/notesSlides/notesSlide13.xml" ContentType="application/vnd.openxmlformats-officedocument.presentationml.notesSlide+xml"/>
  <Override PartName="/ppt/diagrams/layout18.xml" ContentType="application/vnd.openxmlformats-officedocument.drawingml.diagram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diagrams/drawing8.xml" ContentType="application/vnd.ms-office.drawingml.diagramDrawing+xml"/>
  <Override PartName="/ppt/notesSlides/notesSlide8.xml" ContentType="application/vnd.openxmlformats-officedocument.presentationml.notesSlide+xml"/>
  <Default Extension="gif" ContentType="image/gif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diagrams/layout14.xml" ContentType="application/vnd.openxmlformats-officedocument.drawingml.diagramLayout+xml"/>
  <Override PartName="/ppt/diagrams/colors17.xml" ContentType="application/vnd.openxmlformats-officedocument.drawingml.diagramColors+xml"/>
  <Override PartName="/ppt/diagrams/quickStyle21.xml" ContentType="application/vnd.openxmlformats-officedocument.drawingml.diagramStyle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rawing4.xml" ContentType="application/vnd.ms-office.drawingml.diagramDrawing+xml"/>
  <Override PartName="/ppt/diagrams/data19.xml" ContentType="application/vnd.openxmlformats-officedocument.drawingml.diagramData+xml"/>
  <Override PartName="/ppt/diagrams/layout21.xml" ContentType="application/vnd.openxmlformats-officedocument.drawingml.diagram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diagrams/colors13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diagrams/data15.xml" ContentType="application/vnd.openxmlformats-officedocument.drawingml.diagramData+xml"/>
  <Override PartName="/ppt/diagrams/colors20.xml" ContentType="application/vnd.openxmlformats-officedocument.drawingml.diagramColor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diagrams/data11.xml" ContentType="application/vnd.openxmlformats-officedocument.drawingml.diagramData+xml"/>
  <Override PartName="/ppt/diagrams/quickStyle19.xml" ContentType="application/vnd.openxmlformats-officedocument.drawingml.diagramStyle+xml"/>
  <Default Extension="rels" ContentType="application/vnd.openxmlformats-package.relationships+xml"/>
  <Override PartName="/ppt/tags/tag29.xml" ContentType="application/vnd.openxmlformats-officedocument.presentationml.tags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diagrams/quickStyle15.xml" ContentType="application/vnd.openxmlformats-officedocument.drawingml.diagramStyle+xml"/>
  <Override PartName="/ppt/diagrams/drawing16.xml" ContentType="application/vnd.ms-office.drawingml.diagramDrawing+xml"/>
  <Override PartName="/ppt/notesSlides/notesSlide14.xml" ContentType="application/vnd.openxmlformats-officedocument.presentationml.notesSlide+xml"/>
  <Override PartName="/ppt/diagrams/layout19.xml" ContentType="application/vnd.openxmlformats-officedocument.drawingml.diagram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  <Override PartName="/ppt/notesSlides/notesSlide9.xml" ContentType="application/vnd.openxmlformats-officedocument.presentationml.notesSlide+xml"/>
  <Override PartName="/ppt/diagrams/layout15.xml" ContentType="application/vnd.openxmlformats-officedocument.drawingml.diagramLayout+xml"/>
  <Override PartName="/ppt/tags/tag32.xml" ContentType="application/vnd.openxmlformats-officedocument.presentationml.tags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notesSlides/notesSlide10.xml" ContentType="application/vnd.openxmlformats-officedocument.presentationml.notesSlide+xml"/>
  <Override PartName="/ppt/diagrams/colors18.xml" ContentType="application/vnd.openxmlformats-officedocument.drawingml.diagramColor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diagrams/layout11.xml" ContentType="application/vnd.openxmlformats-officedocument.drawingml.diagramLayout+xml"/>
  <Override PartName="/ppt/diagrams/colors14.xml" ContentType="application/vnd.openxmlformats-officedocument.drawingml.diagramColor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diagrams/data16.xml" ContentType="application/vnd.openxmlformats-officedocument.drawingml.diagramData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diagrams/colors10.xml" ContentType="application/vnd.openxmlformats-officedocument.drawingml.diagramColors+xml"/>
  <Override PartName="/ppt/diagrams/colors21.xml" ContentType="application/vnd.openxmlformats-officedocument.drawingml.diagramColor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diagrams/data9.xml" ContentType="application/vnd.openxmlformats-officedocument.drawingml.diagramData+xml"/>
  <Override PartName="/ppt/diagrams/quickStyle16.xml" ContentType="application/vnd.openxmlformats-officedocument.drawingml.diagramStyle+xml"/>
  <Override PartName="/ppt/diagrams/drawing17.xml" ContentType="application/vnd.ms-office.drawingml.diagramDrawing+xml"/>
  <Override PartName="/ppt/notesSlides/notesSlide15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diagrams/layout4.xml" ContentType="application/vnd.openxmlformats-officedocument.drawingml.diagramLayou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diagrams/drawing13.xml" ContentType="application/vnd.ms-office.drawingml.diagramDrawing+xml"/>
  <Override PartName="/ppt/notesSlides/notesSlide11.xml" ContentType="application/vnd.openxmlformats-officedocument.presentationml.notesSlide+xml"/>
  <Override PartName="/ppt/diagrams/layout16.xml" ContentType="application/vnd.openxmlformats-officedocument.drawingml.diagramLayout+xml"/>
  <Override PartName="/ppt/diagrams/colors19.xml" ContentType="application/vnd.openxmlformats-officedocument.drawingml.diagramColor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diagrams/drawing20.xml" ContentType="application/vnd.ms-office.drawingml.diagramDrawing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diagrams/layout12.xml" ContentType="application/vnd.openxmlformats-officedocument.drawingml.diagramLayout+xml"/>
  <Override PartName="/ppt/diagrams/colors15.xml" ContentType="application/vnd.openxmlformats-officedocument.drawingml.diagramColors+xml"/>
  <Override PartName="/ppt/diagrams/drawing2.xml" ContentType="application/vnd.ms-office.drawingml.diagramDrawing+xml"/>
  <Override PartName="/ppt/diagrams/data17.xml" ContentType="application/vnd.openxmlformats-officedocument.drawingml.diagramData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diagrams/data20.xml" ContentType="application/vnd.openxmlformats-officedocument.drawingml.diagramData+xml"/>
  <Override PartName="/ppt/slides/slide10.xml" ContentType="application/vnd.openxmlformats-officedocument.presentationml.slide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diagrams/drawing14.xml" ContentType="application/vnd.ms-office.drawingml.diagramDrawing+xml"/>
  <Override PartName="/ppt/notesSlides/notesSlide12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22"/>
  </p:notesMasterIdLst>
  <p:handoutMasterIdLst>
    <p:handoutMasterId r:id="rId23"/>
  </p:handoutMasterIdLst>
  <p:sldIdLst>
    <p:sldId id="273" r:id="rId2"/>
    <p:sldId id="327" r:id="rId3"/>
    <p:sldId id="335" r:id="rId4"/>
    <p:sldId id="320" r:id="rId5"/>
    <p:sldId id="309" r:id="rId6"/>
    <p:sldId id="313" r:id="rId7"/>
    <p:sldId id="314" r:id="rId8"/>
    <p:sldId id="329" r:id="rId9"/>
    <p:sldId id="316" r:id="rId10"/>
    <p:sldId id="312" r:id="rId11"/>
    <p:sldId id="336" r:id="rId12"/>
    <p:sldId id="338" r:id="rId13"/>
    <p:sldId id="286" r:id="rId14"/>
    <p:sldId id="299" r:id="rId15"/>
    <p:sldId id="337" r:id="rId16"/>
    <p:sldId id="318" r:id="rId17"/>
    <p:sldId id="317" r:id="rId18"/>
    <p:sldId id="292" r:id="rId19"/>
    <p:sldId id="284" r:id="rId20"/>
    <p:sldId id="334" r:id="rId21"/>
  </p:sldIdLst>
  <p:sldSz cx="9144000" cy="6858000" type="screen4x3"/>
  <p:notesSz cx="7099300" cy="10234613"/>
  <p:custDataLst>
    <p:tags r:id="rId24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E20074"/>
    <a:srgbClr val="6CAFDC"/>
    <a:srgbClr val="4FAC36"/>
    <a:srgbClr val="FF118E"/>
    <a:srgbClr val="666666"/>
    <a:srgbClr val="368F9A"/>
    <a:srgbClr val="427BAB"/>
    <a:srgbClr val="64B9E4"/>
    <a:srgbClr val="9F4C97"/>
    <a:srgbClr val="EDA95A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6341" autoAdjust="0"/>
  </p:normalViewPr>
  <p:slideViewPr>
    <p:cSldViewPr snapToGrid="0" showGuides="1">
      <p:cViewPr varScale="1">
        <p:scale>
          <a:sx n="124" d="100"/>
          <a:sy n="124" d="100"/>
        </p:scale>
        <p:origin x="-618" y="-102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95" d="100"/>
          <a:sy n="95" d="100"/>
        </p:scale>
        <p:origin x="-5412" y="-96"/>
      </p:cViewPr>
      <p:guideLst>
        <p:guide orient="horz" pos="3224"/>
        <p:guide pos="309"/>
        <p:guide pos="416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iagrams/_rels/data21.xml.rels><?xml version="1.0" encoding="UTF-8" standalone="yes"?>
<Relationships xmlns="http://schemas.openxmlformats.org/package/2006/relationships"><Relationship Id="rId8" Type="http://schemas.openxmlformats.org/officeDocument/2006/relationships/hyperlink" Target="https://cloud.telekom.de/" TargetMode="External"/><Relationship Id="rId13" Type="http://schemas.openxmlformats.org/officeDocument/2006/relationships/hyperlink" Target="https://d30y9cdsu7xlg0.cloudfront.net/png/27703-200.png" TargetMode="External"/><Relationship Id="rId3" Type="http://schemas.openxmlformats.org/officeDocument/2006/relationships/hyperlink" Target="http://www.all-stars.de/blog/wp-content/uploads/2014/04/planung.jpg" TargetMode="External"/><Relationship Id="rId7" Type="http://schemas.openxmlformats.org/officeDocument/2006/relationships/hyperlink" Target="https://www.openstack.org/brand/openstack-logo/logo-download/" TargetMode="External"/><Relationship Id="rId12" Type="http://schemas.openxmlformats.org/officeDocument/2006/relationships/hyperlink" Target="http://www.autotestingtools.com/devops" TargetMode="External"/><Relationship Id="rId17" Type="http://schemas.openxmlformats.org/officeDocument/2006/relationships/hyperlink" Target="https://de.pinterest.com/pin/556053885218068326/" TargetMode="External"/><Relationship Id="rId2" Type="http://schemas.openxmlformats.org/officeDocument/2006/relationships/hyperlink" Target="http://www.ofekcloud.com/media/images/1e7b5ca3-8b2e-4e2e-9898-5df978f0218aimage14.jpeg" TargetMode="External"/><Relationship Id="rId16" Type="http://schemas.openxmlformats.org/officeDocument/2006/relationships/hyperlink" Target="http://copting.de/wp-content/uploads/Haken-gr%C3%BCn-284x300.png" TargetMode="External"/><Relationship Id="rId1" Type="http://schemas.openxmlformats.org/officeDocument/2006/relationships/hyperlink" Target="https://dzone.com/refcardz?filter=popular" TargetMode="External"/><Relationship Id="rId6" Type="http://schemas.openxmlformats.org/officeDocument/2006/relationships/hyperlink" Target="http://www.embritas.lt/project/duomenu-apdorojimo-centras/?lang=de" TargetMode="External"/><Relationship Id="rId11" Type="http://schemas.openxmlformats.org/officeDocument/2006/relationships/hyperlink" Target="https://gitlab.com/uploads/project/avatar/250833/runner_logo.png" TargetMode="External"/><Relationship Id="rId5" Type="http://schemas.openxmlformats.org/officeDocument/2006/relationships/hyperlink" Target="http://yourdost.com/blog/2016/02/how-to-become-more-creative.html" TargetMode="External"/><Relationship Id="rId15" Type="http://schemas.openxmlformats.org/officeDocument/2006/relationships/hyperlink" Target="http://copting.de/wp-content/uploads/kreuz-rot.png" TargetMode="External"/><Relationship Id="rId10" Type="http://schemas.openxmlformats.org/officeDocument/2006/relationships/hyperlink" Target="https://www.openstack.org/" TargetMode="External"/><Relationship Id="rId4" Type="http://schemas.openxmlformats.org/officeDocument/2006/relationships/hyperlink" Target="http://www.maclife.de/ratgeber/microsoft-office-ios-jetzt-icloud-unterstuetzung-10062588.html" TargetMode="External"/><Relationship Id="rId9" Type="http://schemas.openxmlformats.org/officeDocument/2006/relationships/hyperlink" Target="http://cloud-computing-blog.eu/was-ist-jetzt-eigentlich-cloud-computing/" TargetMode="External"/><Relationship Id="rId14" Type="http://schemas.openxmlformats.org/officeDocument/2006/relationships/hyperlink" Target="https://gitlab.com/uploads/project/avatar/13083/gitlab-logo-square.png" TargetMode="External"/></Relationships>
</file>

<file path=ppt/diagrams/_rels/drawing2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embritas.lt/project/duomenu-apdorojimo-centras/?lang=de" TargetMode="External"/><Relationship Id="rId13" Type="http://schemas.openxmlformats.org/officeDocument/2006/relationships/hyperlink" Target="https://d30y9cdsu7xlg0.cloudfront.net/png/27703-200.png" TargetMode="External"/><Relationship Id="rId3" Type="http://schemas.openxmlformats.org/officeDocument/2006/relationships/hyperlink" Target="http://cloud-computing-blog.eu/was-ist-jetzt-eigentlich-cloud-computing/" TargetMode="External"/><Relationship Id="rId7" Type="http://schemas.openxmlformats.org/officeDocument/2006/relationships/hyperlink" Target="http://yourdost.com/blog/2016/02/how-to-become-more-creative.html" TargetMode="External"/><Relationship Id="rId12" Type="http://schemas.openxmlformats.org/officeDocument/2006/relationships/hyperlink" Target="http://www.autotestingtools.com/devops" TargetMode="External"/><Relationship Id="rId17" Type="http://schemas.openxmlformats.org/officeDocument/2006/relationships/hyperlink" Target="https://de.pinterest.com/pin/556053885218068326/" TargetMode="External"/><Relationship Id="rId2" Type="http://schemas.openxmlformats.org/officeDocument/2006/relationships/hyperlink" Target="https://dzone.com/refcardz?filter=popular" TargetMode="External"/><Relationship Id="rId16" Type="http://schemas.openxmlformats.org/officeDocument/2006/relationships/hyperlink" Target="http://copting.de/wp-content/uploads/Haken-gr%C3%BCn-284x300.png" TargetMode="External"/><Relationship Id="rId1" Type="http://schemas.openxmlformats.org/officeDocument/2006/relationships/hyperlink" Target="https://www.openstack.org/" TargetMode="External"/><Relationship Id="rId6" Type="http://schemas.openxmlformats.org/officeDocument/2006/relationships/hyperlink" Target="http://www.maclife.de/ratgeber/microsoft-office-ios-jetzt-icloud-unterstuetzung-10062588.html" TargetMode="External"/><Relationship Id="rId11" Type="http://schemas.openxmlformats.org/officeDocument/2006/relationships/hyperlink" Target="https://gitlab.com/uploads/project/avatar/250833/runner_logo.png" TargetMode="External"/><Relationship Id="rId5" Type="http://schemas.openxmlformats.org/officeDocument/2006/relationships/hyperlink" Target="http://www.all-stars.de/blog/wp-content/uploads/2014/04/planung.jpg" TargetMode="External"/><Relationship Id="rId15" Type="http://schemas.openxmlformats.org/officeDocument/2006/relationships/hyperlink" Target="http://copting.de/wp-content/uploads/kreuz-rot.png" TargetMode="External"/><Relationship Id="rId10" Type="http://schemas.openxmlformats.org/officeDocument/2006/relationships/hyperlink" Target="https://cloud.telekom.de/" TargetMode="External"/><Relationship Id="rId4" Type="http://schemas.openxmlformats.org/officeDocument/2006/relationships/hyperlink" Target="http://www.ofekcloud.com/media/images/1e7b5ca3-8b2e-4e2e-9898-5df978f0218aimage14.jpeg" TargetMode="External"/><Relationship Id="rId9" Type="http://schemas.openxmlformats.org/officeDocument/2006/relationships/hyperlink" Target="https://www.openstack.org/brand/openstack-logo/logo-download/" TargetMode="External"/><Relationship Id="rId14" Type="http://schemas.openxmlformats.org/officeDocument/2006/relationships/hyperlink" Target="https://gitlab.com/uploads/project/avatar/13083/gitlab-logo-square.png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9F7551B-477E-42C4-8E0A-C6339FE1A519}" type="presOf" srcId="{EB61DA86-9B86-4759-822E-DA32F7AA073E}" destId="{135DB1F4-89C2-4733-9521-42FD5CECF10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B1118C83-9BC1-4F58-84B4-B860D1BF58F1}" type="presOf" srcId="{D14807FD-294C-4482-91EE-34C09B13669A}" destId="{BCE275B7-D1E9-4183-BABE-507E54E1C931}" srcOrd="0" destOrd="0" presId="urn:microsoft.com/office/officeart/2005/8/layout/chevron1"/>
    <dgm:cxn modelId="{C1729EC9-BB94-40D4-BD67-E9F2B899749B}" type="presOf" srcId="{544A2B27-F62F-4504-85C1-82D7732CCB0A}" destId="{6B5B1B16-1D46-4D7F-892D-7D67FB436452}" srcOrd="0" destOrd="0" presId="urn:microsoft.com/office/officeart/2005/8/layout/chevron1"/>
    <dgm:cxn modelId="{26FB677A-7A43-4466-A8B6-39921D46D212}" type="presOf" srcId="{9C869D94-BD20-4CF6-9CAA-58E706B950F6}" destId="{0AECE453-CE2A-473C-BD27-70D00DA5B95C}" srcOrd="0" destOrd="0" presId="urn:microsoft.com/office/officeart/2005/8/layout/chevron1"/>
    <dgm:cxn modelId="{0341F720-D9ED-482A-AC9D-35D332622C16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B93DCDAD-319C-4F82-B91B-705807C3E501}" type="presParOf" srcId="{0AECE453-CE2A-473C-BD27-70D00DA5B95C}" destId="{135DB1F4-89C2-4733-9521-42FD5CECF10C}" srcOrd="0" destOrd="0" presId="urn:microsoft.com/office/officeart/2005/8/layout/chevron1"/>
    <dgm:cxn modelId="{03B783E6-195F-4537-A7C2-9E07E97DC43C}" type="presParOf" srcId="{0AECE453-CE2A-473C-BD27-70D00DA5B95C}" destId="{E1C76734-9ABE-473C-AD4C-C4BF49F91E97}" srcOrd="1" destOrd="0" presId="urn:microsoft.com/office/officeart/2005/8/layout/chevron1"/>
    <dgm:cxn modelId="{CAE5EAF1-F64E-4A33-8F5F-5A7347021F55}" type="presParOf" srcId="{0AECE453-CE2A-473C-BD27-70D00DA5B95C}" destId="{6BF66C9A-92D4-481D-A538-FD1A4E3DC0D5}" srcOrd="2" destOrd="0" presId="urn:microsoft.com/office/officeart/2005/8/layout/chevron1"/>
    <dgm:cxn modelId="{02980022-48FC-44A8-9244-24B918D08596}" type="presParOf" srcId="{0AECE453-CE2A-473C-BD27-70D00DA5B95C}" destId="{691CB221-7DD5-49BE-AC21-301798066F30}" srcOrd="3" destOrd="0" presId="urn:microsoft.com/office/officeart/2005/8/layout/chevron1"/>
    <dgm:cxn modelId="{D26A93FF-42C9-43B9-9A7C-B39D0E4FE9C9}" type="presParOf" srcId="{0AECE453-CE2A-473C-BD27-70D00DA5B95C}" destId="{6B5B1B16-1D46-4D7F-892D-7D67FB436452}" srcOrd="4" destOrd="0" presId="urn:microsoft.com/office/officeart/2005/8/layout/chevron1"/>
    <dgm:cxn modelId="{8F039FFE-C25C-4FFE-BEA2-05CBE0722B44}" type="presParOf" srcId="{0AECE453-CE2A-473C-BD27-70D00DA5B95C}" destId="{E20E6850-4B52-4A6E-A4B6-B5AE207EA15E}" srcOrd="5" destOrd="0" presId="urn:microsoft.com/office/officeart/2005/8/layout/chevron1"/>
    <dgm:cxn modelId="{B0CD5601-18FB-4566-B863-33677E7F09E2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5D7B8CE8-D651-4939-90C1-2E8FF46A29FC}" type="doc">
      <dgm:prSet loTypeId="urn:microsoft.com/office/officeart/2005/8/layout/bProcess3" loCatId="process" qsTypeId="urn:microsoft.com/office/officeart/2005/8/quickstyle/3d6" qsCatId="3D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99B2C1A9-9A62-4ACA-8BA8-0A30C93EB5E2}">
      <dgm:prSet phldrT="[Text]"/>
      <dgm:spPr/>
      <dgm:t>
        <a:bodyPr/>
        <a:lstStyle/>
        <a:p>
          <a:r>
            <a:rPr lang="de-DE" dirty="0" smtClean="0"/>
            <a:t>Get An Overview</a:t>
          </a:r>
          <a:endParaRPr lang="de-DE" dirty="0"/>
        </a:p>
      </dgm:t>
    </dgm:pt>
    <dgm:pt modelId="{20338AD1-FB36-4402-8FD1-32131343AA55}" type="parTrans" cxnId="{F46C5EC7-E278-421D-A6DD-8D1CF98451BF}">
      <dgm:prSet/>
      <dgm:spPr/>
      <dgm:t>
        <a:bodyPr/>
        <a:lstStyle/>
        <a:p>
          <a:endParaRPr lang="de-DE"/>
        </a:p>
      </dgm:t>
    </dgm:pt>
    <dgm:pt modelId="{98703F00-0C5F-4657-827D-B04E440E614E}" type="sibTrans" cxnId="{F46C5EC7-E278-421D-A6DD-8D1CF98451BF}">
      <dgm:prSet/>
      <dgm:spPr/>
      <dgm:t>
        <a:bodyPr/>
        <a:lstStyle/>
        <a:p>
          <a:endParaRPr lang="de-DE" dirty="0"/>
        </a:p>
      </dgm:t>
    </dgm:pt>
    <dgm:pt modelId="{82452DCF-232A-407F-8B9F-239A96594E98}">
      <dgm:prSet phldrT="[Text]"/>
      <dgm:spPr/>
      <dgm:t>
        <a:bodyPr/>
        <a:lstStyle/>
        <a:p>
          <a:r>
            <a:rPr lang="de-DE" dirty="0" smtClean="0"/>
            <a:t>DevStack As Testplatform</a:t>
          </a:r>
          <a:endParaRPr lang="de-DE" dirty="0"/>
        </a:p>
      </dgm:t>
    </dgm:pt>
    <dgm:pt modelId="{3327FCB9-0A64-49F4-AE68-029FBA41782A}" type="parTrans" cxnId="{DF09EE25-DE79-4D75-B037-783985A4C945}">
      <dgm:prSet/>
      <dgm:spPr/>
      <dgm:t>
        <a:bodyPr/>
        <a:lstStyle/>
        <a:p>
          <a:endParaRPr lang="de-DE"/>
        </a:p>
      </dgm:t>
    </dgm:pt>
    <dgm:pt modelId="{48B75D59-56C7-4372-8AE4-F1D79B6A0B3F}" type="sibTrans" cxnId="{DF09EE25-DE79-4D75-B037-783985A4C945}">
      <dgm:prSet/>
      <dgm:spPr/>
      <dgm:t>
        <a:bodyPr/>
        <a:lstStyle/>
        <a:p>
          <a:endParaRPr lang="de-DE" dirty="0"/>
        </a:p>
      </dgm:t>
    </dgm:pt>
    <dgm:pt modelId="{38DB7276-0691-424A-BAAA-3B31662FB8AA}">
      <dgm:prSet phldrT="[Text]"/>
      <dgm:spPr/>
      <dgm:t>
        <a:bodyPr/>
        <a:lstStyle/>
        <a:p>
          <a:r>
            <a:rPr lang="de-DE" dirty="0" smtClean="0"/>
            <a:t>Setting up DevStack</a:t>
          </a:r>
          <a:endParaRPr lang="de-DE" dirty="0"/>
        </a:p>
      </dgm:t>
    </dgm:pt>
    <dgm:pt modelId="{5D64C091-2BF9-4ABD-BC2A-DED216961915}" type="parTrans" cxnId="{7A9A4550-A379-419E-BB50-86347D575C42}">
      <dgm:prSet/>
      <dgm:spPr/>
      <dgm:t>
        <a:bodyPr/>
        <a:lstStyle/>
        <a:p>
          <a:endParaRPr lang="de-DE"/>
        </a:p>
      </dgm:t>
    </dgm:pt>
    <dgm:pt modelId="{85B87230-C043-4C1D-87CD-908000B65C2E}" type="sibTrans" cxnId="{7A9A4550-A379-419E-BB50-86347D575C42}">
      <dgm:prSet/>
      <dgm:spPr/>
      <dgm:t>
        <a:bodyPr/>
        <a:lstStyle/>
        <a:p>
          <a:endParaRPr lang="de-DE" dirty="0"/>
        </a:p>
      </dgm:t>
    </dgm:pt>
    <dgm:pt modelId="{57BA47CA-D1C6-46EF-B73F-4C057557D661}">
      <dgm:prSet phldrT="[Text]"/>
      <dgm:spPr/>
      <dgm:t>
        <a:bodyPr/>
        <a:lstStyle/>
        <a:p>
          <a:r>
            <a:rPr lang="de-DE" dirty="0" smtClean="0"/>
            <a:t>Install Wordpress</a:t>
          </a:r>
          <a:endParaRPr lang="de-DE" dirty="0"/>
        </a:p>
      </dgm:t>
    </dgm:pt>
    <dgm:pt modelId="{93977255-256D-4CBF-AC4F-0761701A5662}" type="parTrans" cxnId="{7D58A934-4F82-4F63-9503-E802172E642A}">
      <dgm:prSet/>
      <dgm:spPr/>
      <dgm:t>
        <a:bodyPr/>
        <a:lstStyle/>
        <a:p>
          <a:endParaRPr lang="de-DE"/>
        </a:p>
      </dgm:t>
    </dgm:pt>
    <dgm:pt modelId="{4C0237E0-A862-4EA6-A085-93C725E0CF75}" type="sibTrans" cxnId="{7D58A934-4F82-4F63-9503-E802172E642A}">
      <dgm:prSet/>
      <dgm:spPr/>
      <dgm:t>
        <a:bodyPr/>
        <a:lstStyle/>
        <a:p>
          <a:endParaRPr lang="de-DE" dirty="0"/>
        </a:p>
      </dgm:t>
    </dgm:pt>
    <dgm:pt modelId="{6E93FA4F-B399-4CE1-B9FC-78319FABED40}">
      <dgm:prSet phldrT="[Text]"/>
      <dgm:spPr/>
      <dgm:t>
        <a:bodyPr/>
        <a:lstStyle/>
        <a:p>
          <a:r>
            <a:rPr lang="de-DE" dirty="0" smtClean="0"/>
            <a:t>Create Tenant</a:t>
          </a:r>
        </a:p>
      </dgm:t>
    </dgm:pt>
    <dgm:pt modelId="{014618B8-8363-4B67-BC0F-373820071FE1}" type="parTrans" cxnId="{23F080CA-5D01-4D23-85A5-E608894D7BE5}">
      <dgm:prSet/>
      <dgm:spPr/>
      <dgm:t>
        <a:bodyPr/>
        <a:lstStyle/>
        <a:p>
          <a:endParaRPr lang="de-DE"/>
        </a:p>
      </dgm:t>
    </dgm:pt>
    <dgm:pt modelId="{5E3E4725-5959-479C-AD77-5722B872AFE4}" type="sibTrans" cxnId="{23F080CA-5D01-4D23-85A5-E608894D7BE5}">
      <dgm:prSet/>
      <dgm:spPr/>
      <dgm:t>
        <a:bodyPr/>
        <a:lstStyle/>
        <a:p>
          <a:endParaRPr lang="de-DE" dirty="0"/>
        </a:p>
      </dgm:t>
    </dgm:pt>
    <dgm:pt modelId="{04F6032E-481B-47A2-8548-5BFEFDA0276D}">
      <dgm:prSet phldrT="[Text]"/>
      <dgm:spPr/>
      <dgm:t>
        <a:bodyPr/>
        <a:lstStyle/>
        <a:p>
          <a:r>
            <a:rPr lang="de-DE" dirty="0" smtClean="0"/>
            <a:t>Automatic Rollout</a:t>
          </a:r>
          <a:endParaRPr lang="de-DE" dirty="0"/>
        </a:p>
      </dgm:t>
    </dgm:pt>
    <dgm:pt modelId="{EE0ABFA3-1100-42EC-BCFD-5F24C665077B}" type="parTrans" cxnId="{969D98B4-666B-475D-9CA4-FE90AFCDD65E}">
      <dgm:prSet/>
      <dgm:spPr/>
      <dgm:t>
        <a:bodyPr/>
        <a:lstStyle/>
        <a:p>
          <a:endParaRPr lang="de-DE"/>
        </a:p>
      </dgm:t>
    </dgm:pt>
    <dgm:pt modelId="{AD163FCE-4007-4CE4-9036-CD114F07627E}" type="sibTrans" cxnId="{969D98B4-666B-475D-9CA4-FE90AFCDD65E}">
      <dgm:prSet/>
      <dgm:spPr/>
      <dgm:t>
        <a:bodyPr/>
        <a:lstStyle/>
        <a:p>
          <a:endParaRPr lang="de-DE" dirty="0"/>
        </a:p>
      </dgm:t>
    </dgm:pt>
    <dgm:pt modelId="{3A7D8C84-6AE4-4000-A7D8-3A3A3328A649}" type="pres">
      <dgm:prSet presAssocID="{5D7B8CE8-D651-4939-90C1-2E8FF46A29F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6031514D-EA9E-4EF4-85F7-3C6A74196969}" type="pres">
      <dgm:prSet presAssocID="{99B2C1A9-9A62-4ACA-8BA8-0A30C93EB5E2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45E31C6-6850-4FDD-BAB0-50E35C94C46E}" type="pres">
      <dgm:prSet presAssocID="{98703F00-0C5F-4657-827D-B04E440E614E}" presName="sibTrans" presStyleLbl="sibTrans1D1" presStyleIdx="0" presStyleCnt="5"/>
      <dgm:spPr/>
      <dgm:t>
        <a:bodyPr/>
        <a:lstStyle/>
        <a:p>
          <a:endParaRPr lang="de-DE"/>
        </a:p>
      </dgm:t>
    </dgm:pt>
    <dgm:pt modelId="{D3BE1247-62A4-4F1C-862D-E895F32DFB83}" type="pres">
      <dgm:prSet presAssocID="{98703F00-0C5F-4657-827D-B04E440E614E}" presName="connectorText" presStyleLbl="sibTrans1D1" presStyleIdx="0" presStyleCnt="5"/>
      <dgm:spPr/>
      <dgm:t>
        <a:bodyPr/>
        <a:lstStyle/>
        <a:p>
          <a:endParaRPr lang="de-DE"/>
        </a:p>
      </dgm:t>
    </dgm:pt>
    <dgm:pt modelId="{13459AEB-C7B5-4B38-80A7-C9867B3EB642}" type="pres">
      <dgm:prSet presAssocID="{82452DCF-232A-407F-8B9F-239A96594E98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308D8D5-E38F-4A9D-9D1A-9015B5567D72}" type="pres">
      <dgm:prSet presAssocID="{48B75D59-56C7-4372-8AE4-F1D79B6A0B3F}" presName="sibTrans" presStyleLbl="sibTrans1D1" presStyleIdx="1" presStyleCnt="5"/>
      <dgm:spPr/>
      <dgm:t>
        <a:bodyPr/>
        <a:lstStyle/>
        <a:p>
          <a:endParaRPr lang="de-DE"/>
        </a:p>
      </dgm:t>
    </dgm:pt>
    <dgm:pt modelId="{9EAFAD29-15A5-4E55-AC92-32A198137063}" type="pres">
      <dgm:prSet presAssocID="{48B75D59-56C7-4372-8AE4-F1D79B6A0B3F}" presName="connectorText" presStyleLbl="sibTrans1D1" presStyleIdx="1" presStyleCnt="5"/>
      <dgm:spPr/>
      <dgm:t>
        <a:bodyPr/>
        <a:lstStyle/>
        <a:p>
          <a:endParaRPr lang="de-DE"/>
        </a:p>
      </dgm:t>
    </dgm:pt>
    <dgm:pt modelId="{8EDD94B1-7527-400A-BF72-5A0A9D075471}" type="pres">
      <dgm:prSet presAssocID="{38DB7276-0691-424A-BAAA-3B31662FB8AA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C2709E5-B21A-451B-9FA3-4F70E2E5BFB1}" type="pres">
      <dgm:prSet presAssocID="{85B87230-C043-4C1D-87CD-908000B65C2E}" presName="sibTrans" presStyleLbl="sibTrans1D1" presStyleIdx="2" presStyleCnt="5"/>
      <dgm:spPr/>
      <dgm:t>
        <a:bodyPr/>
        <a:lstStyle/>
        <a:p>
          <a:endParaRPr lang="de-DE"/>
        </a:p>
      </dgm:t>
    </dgm:pt>
    <dgm:pt modelId="{46346E44-777D-4958-9171-F1888094D4EC}" type="pres">
      <dgm:prSet presAssocID="{85B87230-C043-4C1D-87CD-908000B65C2E}" presName="connectorText" presStyleLbl="sibTrans1D1" presStyleIdx="2" presStyleCnt="5"/>
      <dgm:spPr/>
      <dgm:t>
        <a:bodyPr/>
        <a:lstStyle/>
        <a:p>
          <a:endParaRPr lang="de-DE"/>
        </a:p>
      </dgm:t>
    </dgm:pt>
    <dgm:pt modelId="{CE03B5CE-F3B0-4A17-9638-C582A1BB8AC4}" type="pres">
      <dgm:prSet presAssocID="{6E93FA4F-B399-4CE1-B9FC-78319FABED40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9E48F2-E3EE-46B1-81D6-C925E0C39611}" type="pres">
      <dgm:prSet presAssocID="{5E3E4725-5959-479C-AD77-5722B872AFE4}" presName="sibTrans" presStyleLbl="sibTrans1D1" presStyleIdx="3" presStyleCnt="5"/>
      <dgm:spPr/>
      <dgm:t>
        <a:bodyPr/>
        <a:lstStyle/>
        <a:p>
          <a:endParaRPr lang="de-DE"/>
        </a:p>
      </dgm:t>
    </dgm:pt>
    <dgm:pt modelId="{682121FC-DF9C-4B07-9F98-00272C6572AE}" type="pres">
      <dgm:prSet presAssocID="{5E3E4725-5959-479C-AD77-5722B872AFE4}" presName="connectorText" presStyleLbl="sibTrans1D1" presStyleIdx="3" presStyleCnt="5"/>
      <dgm:spPr/>
      <dgm:t>
        <a:bodyPr/>
        <a:lstStyle/>
        <a:p>
          <a:endParaRPr lang="de-DE"/>
        </a:p>
      </dgm:t>
    </dgm:pt>
    <dgm:pt modelId="{E16655F4-9D8B-458E-BE79-35E88E622DDB}" type="pres">
      <dgm:prSet presAssocID="{04F6032E-481B-47A2-8548-5BFEFDA0276D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DCB6C76-0C40-42F5-B0EF-FB12DF684CD1}" type="pres">
      <dgm:prSet presAssocID="{AD163FCE-4007-4CE4-9036-CD114F07627E}" presName="sibTrans" presStyleLbl="sibTrans1D1" presStyleIdx="4" presStyleCnt="5"/>
      <dgm:spPr/>
      <dgm:t>
        <a:bodyPr/>
        <a:lstStyle/>
        <a:p>
          <a:endParaRPr lang="de-DE"/>
        </a:p>
      </dgm:t>
    </dgm:pt>
    <dgm:pt modelId="{C7CC6C30-80AC-416F-97D0-798C09D66D34}" type="pres">
      <dgm:prSet presAssocID="{AD163FCE-4007-4CE4-9036-CD114F07627E}" presName="connectorText" presStyleLbl="sibTrans1D1" presStyleIdx="4" presStyleCnt="5"/>
      <dgm:spPr/>
      <dgm:t>
        <a:bodyPr/>
        <a:lstStyle/>
        <a:p>
          <a:endParaRPr lang="de-DE"/>
        </a:p>
      </dgm:t>
    </dgm:pt>
    <dgm:pt modelId="{E896A7BE-2FA2-4FC1-B447-31BB37B68D5E}" type="pres">
      <dgm:prSet presAssocID="{57BA47CA-D1C6-46EF-B73F-4C057557D661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656EE2E-D79A-447C-8D09-9CDB356922D7}" type="presOf" srcId="{5E3E4725-5959-479C-AD77-5722B872AFE4}" destId="{7B9E48F2-E3EE-46B1-81D6-C925E0C39611}" srcOrd="0" destOrd="0" presId="urn:microsoft.com/office/officeart/2005/8/layout/bProcess3"/>
    <dgm:cxn modelId="{7A9A4550-A379-419E-BB50-86347D575C42}" srcId="{5D7B8CE8-D651-4939-90C1-2E8FF46A29FC}" destId="{38DB7276-0691-424A-BAAA-3B31662FB8AA}" srcOrd="2" destOrd="0" parTransId="{5D64C091-2BF9-4ABD-BC2A-DED216961915}" sibTransId="{85B87230-C043-4C1D-87CD-908000B65C2E}"/>
    <dgm:cxn modelId="{80530AD5-745E-4A63-B579-CABD4AF2A64C}" type="presOf" srcId="{48B75D59-56C7-4372-8AE4-F1D79B6A0B3F}" destId="{E308D8D5-E38F-4A9D-9D1A-9015B5567D72}" srcOrd="0" destOrd="0" presId="urn:microsoft.com/office/officeart/2005/8/layout/bProcess3"/>
    <dgm:cxn modelId="{24DD9356-25B0-4D41-9BAC-8413F834EA51}" type="presOf" srcId="{85B87230-C043-4C1D-87CD-908000B65C2E}" destId="{BC2709E5-B21A-451B-9FA3-4F70E2E5BFB1}" srcOrd="0" destOrd="0" presId="urn:microsoft.com/office/officeart/2005/8/layout/bProcess3"/>
    <dgm:cxn modelId="{23F080CA-5D01-4D23-85A5-E608894D7BE5}" srcId="{5D7B8CE8-D651-4939-90C1-2E8FF46A29FC}" destId="{6E93FA4F-B399-4CE1-B9FC-78319FABED40}" srcOrd="3" destOrd="0" parTransId="{014618B8-8363-4B67-BC0F-373820071FE1}" sibTransId="{5E3E4725-5959-479C-AD77-5722B872AFE4}"/>
    <dgm:cxn modelId="{1287F795-A987-4E49-9A6C-5A014264EE8C}" type="presOf" srcId="{48B75D59-56C7-4372-8AE4-F1D79B6A0B3F}" destId="{9EAFAD29-15A5-4E55-AC92-32A198137063}" srcOrd="1" destOrd="0" presId="urn:microsoft.com/office/officeart/2005/8/layout/bProcess3"/>
    <dgm:cxn modelId="{1830B075-A0E2-4677-862D-9DD064CF8981}" type="presOf" srcId="{38DB7276-0691-424A-BAAA-3B31662FB8AA}" destId="{8EDD94B1-7527-400A-BF72-5A0A9D075471}" srcOrd="0" destOrd="0" presId="urn:microsoft.com/office/officeart/2005/8/layout/bProcess3"/>
    <dgm:cxn modelId="{5BE633B4-8BDC-48D7-AE6B-F75B1DB15278}" type="presOf" srcId="{57BA47CA-D1C6-46EF-B73F-4C057557D661}" destId="{E896A7BE-2FA2-4FC1-B447-31BB37B68D5E}" srcOrd="0" destOrd="0" presId="urn:microsoft.com/office/officeart/2005/8/layout/bProcess3"/>
    <dgm:cxn modelId="{0F12B9E1-F613-4595-BE26-BAC785D21B79}" type="presOf" srcId="{6E93FA4F-B399-4CE1-B9FC-78319FABED40}" destId="{CE03B5CE-F3B0-4A17-9638-C582A1BB8AC4}" srcOrd="0" destOrd="0" presId="urn:microsoft.com/office/officeart/2005/8/layout/bProcess3"/>
    <dgm:cxn modelId="{F46C5EC7-E278-421D-A6DD-8D1CF98451BF}" srcId="{5D7B8CE8-D651-4939-90C1-2E8FF46A29FC}" destId="{99B2C1A9-9A62-4ACA-8BA8-0A30C93EB5E2}" srcOrd="0" destOrd="0" parTransId="{20338AD1-FB36-4402-8FD1-32131343AA55}" sibTransId="{98703F00-0C5F-4657-827D-B04E440E614E}"/>
    <dgm:cxn modelId="{E8E239EE-D5AA-4AC4-B33F-37DCB77D3CBA}" type="presOf" srcId="{98703F00-0C5F-4657-827D-B04E440E614E}" destId="{D3BE1247-62A4-4F1C-862D-E895F32DFB83}" srcOrd="1" destOrd="0" presId="urn:microsoft.com/office/officeart/2005/8/layout/bProcess3"/>
    <dgm:cxn modelId="{9750139B-B746-4D7D-88DD-FEE357F05F59}" type="presOf" srcId="{98703F00-0C5F-4657-827D-B04E440E614E}" destId="{845E31C6-6850-4FDD-BAB0-50E35C94C46E}" srcOrd="0" destOrd="0" presId="urn:microsoft.com/office/officeart/2005/8/layout/bProcess3"/>
    <dgm:cxn modelId="{04E26EC9-23E1-4919-A0FC-37774316032C}" type="presOf" srcId="{04F6032E-481B-47A2-8548-5BFEFDA0276D}" destId="{E16655F4-9D8B-458E-BE79-35E88E622DDB}" srcOrd="0" destOrd="0" presId="urn:microsoft.com/office/officeart/2005/8/layout/bProcess3"/>
    <dgm:cxn modelId="{664A47F3-25F6-4DB9-9DFA-398B46667904}" type="presOf" srcId="{AD163FCE-4007-4CE4-9036-CD114F07627E}" destId="{BDCB6C76-0C40-42F5-B0EF-FB12DF684CD1}" srcOrd="0" destOrd="0" presId="urn:microsoft.com/office/officeart/2005/8/layout/bProcess3"/>
    <dgm:cxn modelId="{B202C185-67E4-4825-8095-4088F24EE8ED}" type="presOf" srcId="{85B87230-C043-4C1D-87CD-908000B65C2E}" destId="{46346E44-777D-4958-9171-F1888094D4EC}" srcOrd="1" destOrd="0" presId="urn:microsoft.com/office/officeart/2005/8/layout/bProcess3"/>
    <dgm:cxn modelId="{39393AAF-B524-40AA-AD8E-B4186AC84D35}" type="presOf" srcId="{5E3E4725-5959-479C-AD77-5722B872AFE4}" destId="{682121FC-DF9C-4B07-9F98-00272C6572AE}" srcOrd="1" destOrd="0" presId="urn:microsoft.com/office/officeart/2005/8/layout/bProcess3"/>
    <dgm:cxn modelId="{C1230572-6AD7-4520-8674-19EB5CF5A6EB}" type="presOf" srcId="{5D7B8CE8-D651-4939-90C1-2E8FF46A29FC}" destId="{3A7D8C84-6AE4-4000-A7D8-3A3A3328A649}" srcOrd="0" destOrd="0" presId="urn:microsoft.com/office/officeart/2005/8/layout/bProcess3"/>
    <dgm:cxn modelId="{A0B07608-6D1F-4049-972D-9BD4476E4656}" type="presOf" srcId="{AD163FCE-4007-4CE4-9036-CD114F07627E}" destId="{C7CC6C30-80AC-416F-97D0-798C09D66D34}" srcOrd="1" destOrd="0" presId="urn:microsoft.com/office/officeart/2005/8/layout/bProcess3"/>
    <dgm:cxn modelId="{981E6E62-37FF-4515-AF34-A3AAB6FA89CD}" type="presOf" srcId="{82452DCF-232A-407F-8B9F-239A96594E98}" destId="{13459AEB-C7B5-4B38-80A7-C9867B3EB642}" srcOrd="0" destOrd="0" presId="urn:microsoft.com/office/officeart/2005/8/layout/bProcess3"/>
    <dgm:cxn modelId="{7D58A934-4F82-4F63-9503-E802172E642A}" srcId="{5D7B8CE8-D651-4939-90C1-2E8FF46A29FC}" destId="{57BA47CA-D1C6-46EF-B73F-4C057557D661}" srcOrd="5" destOrd="0" parTransId="{93977255-256D-4CBF-AC4F-0761701A5662}" sibTransId="{4C0237E0-A862-4EA6-A085-93C725E0CF75}"/>
    <dgm:cxn modelId="{969D98B4-666B-475D-9CA4-FE90AFCDD65E}" srcId="{5D7B8CE8-D651-4939-90C1-2E8FF46A29FC}" destId="{04F6032E-481B-47A2-8548-5BFEFDA0276D}" srcOrd="4" destOrd="0" parTransId="{EE0ABFA3-1100-42EC-BCFD-5F24C665077B}" sibTransId="{AD163FCE-4007-4CE4-9036-CD114F07627E}"/>
    <dgm:cxn modelId="{DF09EE25-DE79-4D75-B037-783985A4C945}" srcId="{5D7B8CE8-D651-4939-90C1-2E8FF46A29FC}" destId="{82452DCF-232A-407F-8B9F-239A96594E98}" srcOrd="1" destOrd="0" parTransId="{3327FCB9-0A64-49F4-AE68-029FBA41782A}" sibTransId="{48B75D59-56C7-4372-8AE4-F1D79B6A0B3F}"/>
    <dgm:cxn modelId="{6D5E8E91-D3B1-4F88-8DFF-AD5CC9D7FC8C}" type="presOf" srcId="{99B2C1A9-9A62-4ACA-8BA8-0A30C93EB5E2}" destId="{6031514D-EA9E-4EF4-85F7-3C6A74196969}" srcOrd="0" destOrd="0" presId="urn:microsoft.com/office/officeart/2005/8/layout/bProcess3"/>
    <dgm:cxn modelId="{BE008D7B-8CFA-42C3-B523-DA273AD14658}" type="presParOf" srcId="{3A7D8C84-6AE4-4000-A7D8-3A3A3328A649}" destId="{6031514D-EA9E-4EF4-85F7-3C6A74196969}" srcOrd="0" destOrd="0" presId="urn:microsoft.com/office/officeart/2005/8/layout/bProcess3"/>
    <dgm:cxn modelId="{F24FA450-A2A6-44E9-A788-41EBF7CC1511}" type="presParOf" srcId="{3A7D8C84-6AE4-4000-A7D8-3A3A3328A649}" destId="{845E31C6-6850-4FDD-BAB0-50E35C94C46E}" srcOrd="1" destOrd="0" presId="urn:microsoft.com/office/officeart/2005/8/layout/bProcess3"/>
    <dgm:cxn modelId="{4035DED7-D7E4-4828-898D-1022925964A9}" type="presParOf" srcId="{845E31C6-6850-4FDD-BAB0-50E35C94C46E}" destId="{D3BE1247-62A4-4F1C-862D-E895F32DFB83}" srcOrd="0" destOrd="0" presId="urn:microsoft.com/office/officeart/2005/8/layout/bProcess3"/>
    <dgm:cxn modelId="{F6036377-3E73-401A-960A-C1B4940E2A4E}" type="presParOf" srcId="{3A7D8C84-6AE4-4000-A7D8-3A3A3328A649}" destId="{13459AEB-C7B5-4B38-80A7-C9867B3EB642}" srcOrd="2" destOrd="0" presId="urn:microsoft.com/office/officeart/2005/8/layout/bProcess3"/>
    <dgm:cxn modelId="{A54459FC-3BB2-4961-A6EF-647EA8100830}" type="presParOf" srcId="{3A7D8C84-6AE4-4000-A7D8-3A3A3328A649}" destId="{E308D8D5-E38F-4A9D-9D1A-9015B5567D72}" srcOrd="3" destOrd="0" presId="urn:microsoft.com/office/officeart/2005/8/layout/bProcess3"/>
    <dgm:cxn modelId="{5198A30A-E2BC-4421-97FF-A7E97852D7C5}" type="presParOf" srcId="{E308D8D5-E38F-4A9D-9D1A-9015B5567D72}" destId="{9EAFAD29-15A5-4E55-AC92-32A198137063}" srcOrd="0" destOrd="0" presId="urn:microsoft.com/office/officeart/2005/8/layout/bProcess3"/>
    <dgm:cxn modelId="{EC757E03-04CB-4EDC-89FE-6FC46C6A27AB}" type="presParOf" srcId="{3A7D8C84-6AE4-4000-A7D8-3A3A3328A649}" destId="{8EDD94B1-7527-400A-BF72-5A0A9D075471}" srcOrd="4" destOrd="0" presId="urn:microsoft.com/office/officeart/2005/8/layout/bProcess3"/>
    <dgm:cxn modelId="{E183A8D6-F55F-4617-BBCA-CB9D19700636}" type="presParOf" srcId="{3A7D8C84-6AE4-4000-A7D8-3A3A3328A649}" destId="{BC2709E5-B21A-451B-9FA3-4F70E2E5BFB1}" srcOrd="5" destOrd="0" presId="urn:microsoft.com/office/officeart/2005/8/layout/bProcess3"/>
    <dgm:cxn modelId="{5680AA9C-8EF5-4184-A1B7-6E689CED2AFF}" type="presParOf" srcId="{BC2709E5-B21A-451B-9FA3-4F70E2E5BFB1}" destId="{46346E44-777D-4958-9171-F1888094D4EC}" srcOrd="0" destOrd="0" presId="urn:microsoft.com/office/officeart/2005/8/layout/bProcess3"/>
    <dgm:cxn modelId="{09EF1326-A7A6-43B7-AC2D-C6C3AEB40D78}" type="presParOf" srcId="{3A7D8C84-6AE4-4000-A7D8-3A3A3328A649}" destId="{CE03B5CE-F3B0-4A17-9638-C582A1BB8AC4}" srcOrd="6" destOrd="0" presId="urn:microsoft.com/office/officeart/2005/8/layout/bProcess3"/>
    <dgm:cxn modelId="{DC5A48FE-C155-4A89-BC55-CDCD1251E984}" type="presParOf" srcId="{3A7D8C84-6AE4-4000-A7D8-3A3A3328A649}" destId="{7B9E48F2-E3EE-46B1-81D6-C925E0C39611}" srcOrd="7" destOrd="0" presId="urn:microsoft.com/office/officeart/2005/8/layout/bProcess3"/>
    <dgm:cxn modelId="{B8F3B57F-EAE4-4D0C-836F-F9183D3F772C}" type="presParOf" srcId="{7B9E48F2-E3EE-46B1-81D6-C925E0C39611}" destId="{682121FC-DF9C-4B07-9F98-00272C6572AE}" srcOrd="0" destOrd="0" presId="urn:microsoft.com/office/officeart/2005/8/layout/bProcess3"/>
    <dgm:cxn modelId="{8DAA11AC-6CCA-47F4-BDD9-67E54F60A8A4}" type="presParOf" srcId="{3A7D8C84-6AE4-4000-A7D8-3A3A3328A649}" destId="{E16655F4-9D8B-458E-BE79-35E88E622DDB}" srcOrd="8" destOrd="0" presId="urn:microsoft.com/office/officeart/2005/8/layout/bProcess3"/>
    <dgm:cxn modelId="{E00B2490-DF8E-4FBE-96B5-ED8E15C9D51B}" type="presParOf" srcId="{3A7D8C84-6AE4-4000-A7D8-3A3A3328A649}" destId="{BDCB6C76-0C40-42F5-B0EF-FB12DF684CD1}" srcOrd="9" destOrd="0" presId="urn:microsoft.com/office/officeart/2005/8/layout/bProcess3"/>
    <dgm:cxn modelId="{6B895048-F5F9-4EFE-B21A-A49B4DA1D8CD}" type="presParOf" srcId="{BDCB6C76-0C40-42F5-B0EF-FB12DF684CD1}" destId="{C7CC6C30-80AC-416F-97D0-798C09D66D34}" srcOrd="0" destOrd="0" presId="urn:microsoft.com/office/officeart/2005/8/layout/bProcess3"/>
    <dgm:cxn modelId="{107C809D-9B61-4142-AA7D-6D11D5068C79}" type="presParOf" srcId="{3A7D8C84-6AE4-4000-A7D8-3A3A3328A649}" destId="{E896A7BE-2FA2-4FC1-B447-31BB37B68D5E}" srcOrd="10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2EFBFE1-FF89-4DBF-999B-72AD97CE317C}" type="presOf" srcId="{D14807FD-294C-4482-91EE-34C09B13669A}" destId="{BCE275B7-D1E9-4183-BABE-507E54E1C931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D738BB98-7698-453D-9484-5D8EA6C07D26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29516274-3574-469E-A79C-29E1C2AF37BB}" type="presOf" srcId="{EB61DA86-9B86-4759-822E-DA32F7AA073E}" destId="{135DB1F4-89C2-4733-9521-42FD5CECF10C}" srcOrd="0" destOrd="0" presId="urn:microsoft.com/office/officeart/2005/8/layout/chevron1"/>
    <dgm:cxn modelId="{DDA45B38-ED9D-47C3-8F6E-73F1197E2477}" type="presOf" srcId="{544A2B27-F62F-4504-85C1-82D7732CCB0A}" destId="{6B5B1B16-1D46-4D7F-892D-7D67FB436452}" srcOrd="0" destOrd="0" presId="urn:microsoft.com/office/officeart/2005/8/layout/chevron1"/>
    <dgm:cxn modelId="{951BA2A8-8269-439A-8199-2D3C6C7B2E4A}" type="presOf" srcId="{9C869D94-BD20-4CF6-9CAA-58E706B950F6}" destId="{0AECE453-CE2A-473C-BD27-70D00DA5B95C}" srcOrd="0" destOrd="0" presId="urn:microsoft.com/office/officeart/2005/8/layout/chevron1"/>
    <dgm:cxn modelId="{8014F831-4174-49ED-9A4C-31D37D12CAFA}" type="presParOf" srcId="{0AECE453-CE2A-473C-BD27-70D00DA5B95C}" destId="{135DB1F4-89C2-4733-9521-42FD5CECF10C}" srcOrd="0" destOrd="0" presId="urn:microsoft.com/office/officeart/2005/8/layout/chevron1"/>
    <dgm:cxn modelId="{FC5C2269-328F-4E54-BBE1-6A4D91E27928}" type="presParOf" srcId="{0AECE453-CE2A-473C-BD27-70D00DA5B95C}" destId="{E1C76734-9ABE-473C-AD4C-C4BF49F91E97}" srcOrd="1" destOrd="0" presId="urn:microsoft.com/office/officeart/2005/8/layout/chevron1"/>
    <dgm:cxn modelId="{8A50F24F-1628-4ACD-864A-604F7DE6BC7C}" type="presParOf" srcId="{0AECE453-CE2A-473C-BD27-70D00DA5B95C}" destId="{6BF66C9A-92D4-481D-A538-FD1A4E3DC0D5}" srcOrd="2" destOrd="0" presId="urn:microsoft.com/office/officeart/2005/8/layout/chevron1"/>
    <dgm:cxn modelId="{ECD2CC03-8145-4713-AD4D-C6710F626DAE}" type="presParOf" srcId="{0AECE453-CE2A-473C-BD27-70D00DA5B95C}" destId="{691CB221-7DD5-49BE-AC21-301798066F30}" srcOrd="3" destOrd="0" presId="urn:microsoft.com/office/officeart/2005/8/layout/chevron1"/>
    <dgm:cxn modelId="{3C355F9B-41E8-4059-9BBA-F5E62939C41D}" type="presParOf" srcId="{0AECE453-CE2A-473C-BD27-70D00DA5B95C}" destId="{6B5B1B16-1D46-4D7F-892D-7D67FB436452}" srcOrd="4" destOrd="0" presId="urn:microsoft.com/office/officeart/2005/8/layout/chevron1"/>
    <dgm:cxn modelId="{9D17D0D9-CD57-4BB0-9619-4567A7721690}" type="presParOf" srcId="{0AECE453-CE2A-473C-BD27-70D00DA5B95C}" destId="{E20E6850-4B52-4A6E-A4B6-B5AE207EA15E}" srcOrd="5" destOrd="0" presId="urn:microsoft.com/office/officeart/2005/8/layout/chevron1"/>
    <dgm:cxn modelId="{66B2F48F-C58E-4FF2-AF92-3863351F70BF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31F3532B-5AE0-44A2-B657-1D0325F9F00D}" type="doc">
      <dgm:prSet loTypeId="urn:microsoft.com/office/officeart/2005/8/layout/matrix1" loCatId="matrix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287C4DAB-A2BA-4BC6-80B5-646ADE7A52E7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2000" dirty="0" smtClean="0">
              <a:solidFill>
                <a:schemeClr val="bg1"/>
              </a:solidFill>
              <a:latin typeface="TeleGrotesk Headline" pitchFamily="2" charset="0"/>
            </a:rPr>
            <a:t>Our Experiences</a:t>
          </a:r>
          <a:endParaRPr lang="de-DE" sz="2000" dirty="0">
            <a:solidFill>
              <a:schemeClr val="bg1"/>
            </a:solidFill>
            <a:latin typeface="TeleGrotesk Headline" pitchFamily="2" charset="0"/>
          </a:endParaRPr>
        </a:p>
      </dgm:t>
    </dgm:pt>
    <dgm:pt modelId="{3B16B8D2-3615-4CEE-BB11-19C2D53FDF9A}" type="parTrans" cxnId="{49291616-6D71-4C23-B077-95CD08929485}">
      <dgm:prSet/>
      <dgm:spPr/>
      <dgm:t>
        <a:bodyPr/>
        <a:lstStyle/>
        <a:p>
          <a:endParaRPr lang="de-DE"/>
        </a:p>
      </dgm:t>
    </dgm:pt>
    <dgm:pt modelId="{43C3474A-DF34-4F77-865D-6F555148BF3D}" type="sibTrans" cxnId="{49291616-6D71-4C23-B077-95CD08929485}">
      <dgm:prSet/>
      <dgm:spPr/>
      <dgm:t>
        <a:bodyPr/>
        <a:lstStyle/>
        <a:p>
          <a:endParaRPr lang="de-DE"/>
        </a:p>
      </dgm:t>
    </dgm:pt>
    <dgm:pt modelId="{2728D8FB-9ED9-4560-AD2C-7B7375FF5E7F}">
      <dgm:prSet phldrT="[Text]" custT="1"/>
      <dgm:spPr/>
      <dgm:t>
        <a:bodyPr/>
        <a:lstStyle/>
        <a:p>
          <a:pPr algn="ctr"/>
          <a:endParaRPr lang="de-DE" sz="2400" dirty="0">
            <a:latin typeface="Tele-GroteskHal" pitchFamily="2" charset="0"/>
          </a:endParaRPr>
        </a:p>
      </dgm:t>
    </dgm:pt>
    <dgm:pt modelId="{2CBA9A63-0BC1-4EAE-9040-712EA43EC4C4}" type="parTrans" cxnId="{A5FF04EC-DB5A-4DCE-9844-C6B52C362506}">
      <dgm:prSet/>
      <dgm:spPr/>
      <dgm:t>
        <a:bodyPr/>
        <a:lstStyle/>
        <a:p>
          <a:endParaRPr lang="de-DE"/>
        </a:p>
      </dgm:t>
    </dgm:pt>
    <dgm:pt modelId="{D88648A4-CDB9-44D1-9002-46C9C9ABD397}" type="sibTrans" cxnId="{A5FF04EC-DB5A-4DCE-9844-C6B52C362506}">
      <dgm:prSet/>
      <dgm:spPr/>
      <dgm:t>
        <a:bodyPr/>
        <a:lstStyle/>
        <a:p>
          <a:endParaRPr lang="de-DE"/>
        </a:p>
      </dgm:t>
    </dgm:pt>
    <dgm:pt modelId="{8FA7551D-CB7B-4C0F-8265-597776008C26}">
      <dgm:prSet phldrT="[Text]" custT="1"/>
      <dgm:spPr/>
      <dgm:t>
        <a:bodyPr anchor="t"/>
        <a:lstStyle/>
        <a:p>
          <a:endParaRPr lang="de-DE" sz="2400" dirty="0">
            <a:latin typeface="Tele-GroteskHal" pitchFamily="2" charset="0"/>
            <a:cs typeface="Arial" pitchFamily="34" charset="0"/>
          </a:endParaRPr>
        </a:p>
      </dgm:t>
    </dgm:pt>
    <dgm:pt modelId="{87459B9D-25FF-4F90-84B2-F560DC6B32AF}" type="parTrans" cxnId="{48EC6811-26B5-49D3-9B96-CC511257B3BF}">
      <dgm:prSet/>
      <dgm:spPr/>
      <dgm:t>
        <a:bodyPr/>
        <a:lstStyle/>
        <a:p>
          <a:endParaRPr lang="de-DE"/>
        </a:p>
      </dgm:t>
    </dgm:pt>
    <dgm:pt modelId="{DCC0EC9F-AF07-4D7A-8ABE-455418F6CA04}" type="sibTrans" cxnId="{48EC6811-26B5-49D3-9B96-CC511257B3BF}">
      <dgm:prSet/>
      <dgm:spPr/>
      <dgm:t>
        <a:bodyPr/>
        <a:lstStyle/>
        <a:p>
          <a:endParaRPr lang="de-DE"/>
        </a:p>
      </dgm:t>
    </dgm:pt>
    <dgm:pt modelId="{065CC60E-55D9-412D-B25A-79568CD3795A}">
      <dgm:prSet phldrT="[Text]"/>
      <dgm:spPr/>
      <dgm:t>
        <a:bodyPr/>
        <a:lstStyle/>
        <a:p>
          <a:endParaRPr lang="de-DE" dirty="0"/>
        </a:p>
      </dgm:t>
    </dgm:pt>
    <dgm:pt modelId="{ABE07E3A-8467-4DCE-A1A3-6FAD1104DA5C}" type="parTrans" cxnId="{14D37B3D-CB0F-4CD4-8322-B8A0AD726CA6}">
      <dgm:prSet/>
      <dgm:spPr/>
      <dgm:t>
        <a:bodyPr/>
        <a:lstStyle/>
        <a:p>
          <a:endParaRPr lang="de-DE"/>
        </a:p>
      </dgm:t>
    </dgm:pt>
    <dgm:pt modelId="{2981FF97-4B94-4904-B2A6-CDC34D757177}" type="sibTrans" cxnId="{14D37B3D-CB0F-4CD4-8322-B8A0AD726CA6}">
      <dgm:prSet/>
      <dgm:spPr/>
      <dgm:t>
        <a:bodyPr/>
        <a:lstStyle/>
        <a:p>
          <a:endParaRPr lang="de-DE"/>
        </a:p>
      </dgm:t>
    </dgm:pt>
    <dgm:pt modelId="{C31BF9A7-85A5-4FD5-8130-58D69C2EE93C}">
      <dgm:prSet phldrT="[Text]"/>
      <dgm:spPr/>
      <dgm:t>
        <a:bodyPr/>
        <a:lstStyle/>
        <a:p>
          <a:endParaRPr lang="de-DE" dirty="0"/>
        </a:p>
      </dgm:t>
    </dgm:pt>
    <dgm:pt modelId="{F772A415-A0B3-4411-83E3-6DEB1A4C425A}" type="sibTrans" cxnId="{FC65AB4F-060F-4643-AE19-07F66E7DC3E8}">
      <dgm:prSet/>
      <dgm:spPr/>
      <dgm:t>
        <a:bodyPr/>
        <a:lstStyle/>
        <a:p>
          <a:endParaRPr lang="de-DE"/>
        </a:p>
      </dgm:t>
    </dgm:pt>
    <dgm:pt modelId="{0AD58E4D-EFC5-481A-B19F-363E6C249BE9}" type="parTrans" cxnId="{FC65AB4F-060F-4643-AE19-07F66E7DC3E8}">
      <dgm:prSet/>
      <dgm:spPr/>
      <dgm:t>
        <a:bodyPr/>
        <a:lstStyle/>
        <a:p>
          <a:endParaRPr lang="de-DE"/>
        </a:p>
      </dgm:t>
    </dgm:pt>
    <dgm:pt modelId="{2AEE65C6-B1F6-410A-8375-089A29026A58}" type="pres">
      <dgm:prSet presAssocID="{31F3532B-5AE0-44A2-B657-1D0325F9F00D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AB2E850-54BB-470C-AFEA-EE25890B4FD4}" type="pres">
      <dgm:prSet presAssocID="{31F3532B-5AE0-44A2-B657-1D0325F9F00D}" presName="matrix" presStyleCnt="0"/>
      <dgm:spPr/>
    </dgm:pt>
    <dgm:pt modelId="{F94570A6-624E-4647-99B4-6200FB81373D}" type="pres">
      <dgm:prSet presAssocID="{31F3532B-5AE0-44A2-B657-1D0325F9F00D}" presName="tile1" presStyleLbl="node1" presStyleIdx="0" presStyleCnt="4"/>
      <dgm:spPr/>
      <dgm:t>
        <a:bodyPr/>
        <a:lstStyle/>
        <a:p>
          <a:endParaRPr lang="de-DE"/>
        </a:p>
      </dgm:t>
    </dgm:pt>
    <dgm:pt modelId="{22ABA2EF-F15B-40CB-95A1-19D1C1629F1B}" type="pres">
      <dgm:prSet presAssocID="{31F3532B-5AE0-44A2-B657-1D0325F9F00D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366065D-0F5C-4109-8B1D-4C58D64EB1DD}" type="pres">
      <dgm:prSet presAssocID="{31F3532B-5AE0-44A2-B657-1D0325F9F00D}" presName="tile2" presStyleLbl="node1" presStyleIdx="1" presStyleCnt="4"/>
      <dgm:spPr/>
      <dgm:t>
        <a:bodyPr/>
        <a:lstStyle/>
        <a:p>
          <a:endParaRPr lang="de-DE"/>
        </a:p>
      </dgm:t>
    </dgm:pt>
    <dgm:pt modelId="{CCCC369C-43E3-4805-86FF-1A314DC8A3DB}" type="pres">
      <dgm:prSet presAssocID="{31F3532B-5AE0-44A2-B657-1D0325F9F00D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2A83927-BD7C-46FF-8527-D4B59C3E881F}" type="pres">
      <dgm:prSet presAssocID="{31F3532B-5AE0-44A2-B657-1D0325F9F00D}" presName="tile3" presStyleLbl="node1" presStyleIdx="2" presStyleCnt="4"/>
      <dgm:spPr/>
      <dgm:t>
        <a:bodyPr/>
        <a:lstStyle/>
        <a:p>
          <a:endParaRPr lang="de-DE"/>
        </a:p>
      </dgm:t>
    </dgm:pt>
    <dgm:pt modelId="{D141D63A-5726-441B-824D-8DF51B479D6E}" type="pres">
      <dgm:prSet presAssocID="{31F3532B-5AE0-44A2-B657-1D0325F9F00D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681E340-BC23-49F2-8282-021B779DAD63}" type="pres">
      <dgm:prSet presAssocID="{31F3532B-5AE0-44A2-B657-1D0325F9F00D}" presName="tile4" presStyleLbl="node1" presStyleIdx="3" presStyleCnt="4"/>
      <dgm:spPr/>
      <dgm:t>
        <a:bodyPr/>
        <a:lstStyle/>
        <a:p>
          <a:endParaRPr lang="de-DE"/>
        </a:p>
      </dgm:t>
    </dgm:pt>
    <dgm:pt modelId="{9C444DD6-B257-4A95-94EC-78065B7AB202}" type="pres">
      <dgm:prSet presAssocID="{31F3532B-5AE0-44A2-B657-1D0325F9F00D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1E1233F-6405-4070-9D0C-9D6D06009224}" type="pres">
      <dgm:prSet presAssocID="{31F3532B-5AE0-44A2-B657-1D0325F9F00D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de-DE"/>
        </a:p>
      </dgm:t>
    </dgm:pt>
  </dgm:ptLst>
  <dgm:cxnLst>
    <dgm:cxn modelId="{FC65AB4F-060F-4643-AE19-07F66E7DC3E8}" srcId="{287C4DAB-A2BA-4BC6-80B5-646ADE7A52E7}" destId="{C31BF9A7-85A5-4FD5-8130-58D69C2EE93C}" srcOrd="0" destOrd="0" parTransId="{0AD58E4D-EFC5-481A-B19F-363E6C249BE9}" sibTransId="{F772A415-A0B3-4411-83E3-6DEB1A4C425A}"/>
    <dgm:cxn modelId="{ABF8C412-073F-4CBA-8FE0-BB012BED7D4E}" type="presOf" srcId="{8FA7551D-CB7B-4C0F-8265-597776008C26}" destId="{D141D63A-5726-441B-824D-8DF51B479D6E}" srcOrd="1" destOrd="0" presId="urn:microsoft.com/office/officeart/2005/8/layout/matrix1"/>
    <dgm:cxn modelId="{48EC6811-26B5-49D3-9B96-CC511257B3BF}" srcId="{287C4DAB-A2BA-4BC6-80B5-646ADE7A52E7}" destId="{8FA7551D-CB7B-4C0F-8265-597776008C26}" srcOrd="2" destOrd="0" parTransId="{87459B9D-25FF-4F90-84B2-F560DC6B32AF}" sibTransId="{DCC0EC9F-AF07-4D7A-8ABE-455418F6CA04}"/>
    <dgm:cxn modelId="{A5FF04EC-DB5A-4DCE-9844-C6B52C362506}" srcId="{287C4DAB-A2BA-4BC6-80B5-646ADE7A52E7}" destId="{2728D8FB-9ED9-4560-AD2C-7B7375FF5E7F}" srcOrd="1" destOrd="0" parTransId="{2CBA9A63-0BC1-4EAE-9040-712EA43EC4C4}" sibTransId="{D88648A4-CDB9-44D1-9002-46C9C9ABD397}"/>
    <dgm:cxn modelId="{BCC96067-186D-4A00-AF93-7F1E9AAA4592}" type="presOf" srcId="{2728D8FB-9ED9-4560-AD2C-7B7375FF5E7F}" destId="{CCCC369C-43E3-4805-86FF-1A314DC8A3DB}" srcOrd="1" destOrd="0" presId="urn:microsoft.com/office/officeart/2005/8/layout/matrix1"/>
    <dgm:cxn modelId="{7DEF4FE2-042C-4411-A4A5-63122E59A19B}" type="presOf" srcId="{287C4DAB-A2BA-4BC6-80B5-646ADE7A52E7}" destId="{A1E1233F-6405-4070-9D0C-9D6D06009224}" srcOrd="0" destOrd="0" presId="urn:microsoft.com/office/officeart/2005/8/layout/matrix1"/>
    <dgm:cxn modelId="{7788A17E-7E9A-4226-97B7-2055A3861F44}" type="presOf" srcId="{065CC60E-55D9-412D-B25A-79568CD3795A}" destId="{2681E340-BC23-49F2-8282-021B779DAD63}" srcOrd="0" destOrd="0" presId="urn:microsoft.com/office/officeart/2005/8/layout/matrix1"/>
    <dgm:cxn modelId="{DA3BD01F-4923-4650-A33E-819C95007F87}" type="presOf" srcId="{8FA7551D-CB7B-4C0F-8265-597776008C26}" destId="{62A83927-BD7C-46FF-8527-D4B59C3E881F}" srcOrd="0" destOrd="0" presId="urn:microsoft.com/office/officeart/2005/8/layout/matrix1"/>
    <dgm:cxn modelId="{86605553-A3A4-4A77-9C03-BE7A9A482130}" type="presOf" srcId="{065CC60E-55D9-412D-B25A-79568CD3795A}" destId="{9C444DD6-B257-4A95-94EC-78065B7AB202}" srcOrd="1" destOrd="0" presId="urn:microsoft.com/office/officeart/2005/8/layout/matrix1"/>
    <dgm:cxn modelId="{0018A8EC-ECE8-4BEE-983A-3B43D00F78FF}" type="presOf" srcId="{C31BF9A7-85A5-4FD5-8130-58D69C2EE93C}" destId="{22ABA2EF-F15B-40CB-95A1-19D1C1629F1B}" srcOrd="1" destOrd="0" presId="urn:microsoft.com/office/officeart/2005/8/layout/matrix1"/>
    <dgm:cxn modelId="{49291616-6D71-4C23-B077-95CD08929485}" srcId="{31F3532B-5AE0-44A2-B657-1D0325F9F00D}" destId="{287C4DAB-A2BA-4BC6-80B5-646ADE7A52E7}" srcOrd="0" destOrd="0" parTransId="{3B16B8D2-3615-4CEE-BB11-19C2D53FDF9A}" sibTransId="{43C3474A-DF34-4F77-865D-6F555148BF3D}"/>
    <dgm:cxn modelId="{FCFE3C23-39E7-4892-843D-A55BC25F5B67}" type="presOf" srcId="{C31BF9A7-85A5-4FD5-8130-58D69C2EE93C}" destId="{F94570A6-624E-4647-99B4-6200FB81373D}" srcOrd="0" destOrd="0" presId="urn:microsoft.com/office/officeart/2005/8/layout/matrix1"/>
    <dgm:cxn modelId="{E1591740-2492-4D3E-BA27-B281E1725B96}" type="presOf" srcId="{2728D8FB-9ED9-4560-AD2C-7B7375FF5E7F}" destId="{6366065D-0F5C-4109-8B1D-4C58D64EB1DD}" srcOrd="0" destOrd="0" presId="urn:microsoft.com/office/officeart/2005/8/layout/matrix1"/>
    <dgm:cxn modelId="{14D37B3D-CB0F-4CD4-8322-B8A0AD726CA6}" srcId="{287C4DAB-A2BA-4BC6-80B5-646ADE7A52E7}" destId="{065CC60E-55D9-412D-B25A-79568CD3795A}" srcOrd="3" destOrd="0" parTransId="{ABE07E3A-8467-4DCE-A1A3-6FAD1104DA5C}" sibTransId="{2981FF97-4B94-4904-B2A6-CDC34D757177}"/>
    <dgm:cxn modelId="{80B1B582-6904-47F5-86E6-94AE33AA106F}" type="presOf" srcId="{31F3532B-5AE0-44A2-B657-1D0325F9F00D}" destId="{2AEE65C6-B1F6-410A-8375-089A29026A58}" srcOrd="0" destOrd="0" presId="urn:microsoft.com/office/officeart/2005/8/layout/matrix1"/>
    <dgm:cxn modelId="{90629176-EDA9-459E-A5A9-FAFFC685ABA8}" type="presParOf" srcId="{2AEE65C6-B1F6-410A-8375-089A29026A58}" destId="{2AB2E850-54BB-470C-AFEA-EE25890B4FD4}" srcOrd="0" destOrd="0" presId="urn:microsoft.com/office/officeart/2005/8/layout/matrix1"/>
    <dgm:cxn modelId="{CBAE15FF-16E4-472B-8A47-68E50BC5FB52}" type="presParOf" srcId="{2AB2E850-54BB-470C-AFEA-EE25890B4FD4}" destId="{F94570A6-624E-4647-99B4-6200FB81373D}" srcOrd="0" destOrd="0" presId="urn:microsoft.com/office/officeart/2005/8/layout/matrix1"/>
    <dgm:cxn modelId="{C59F1622-CDF2-4764-8C32-03B649EB2D87}" type="presParOf" srcId="{2AB2E850-54BB-470C-AFEA-EE25890B4FD4}" destId="{22ABA2EF-F15B-40CB-95A1-19D1C1629F1B}" srcOrd="1" destOrd="0" presId="urn:microsoft.com/office/officeart/2005/8/layout/matrix1"/>
    <dgm:cxn modelId="{D66CD303-BE12-4ADA-8756-34DC0D3CC41E}" type="presParOf" srcId="{2AB2E850-54BB-470C-AFEA-EE25890B4FD4}" destId="{6366065D-0F5C-4109-8B1D-4C58D64EB1DD}" srcOrd="2" destOrd="0" presId="urn:microsoft.com/office/officeart/2005/8/layout/matrix1"/>
    <dgm:cxn modelId="{21751911-A510-490E-A1ED-6314E24C3FF6}" type="presParOf" srcId="{2AB2E850-54BB-470C-AFEA-EE25890B4FD4}" destId="{CCCC369C-43E3-4805-86FF-1A314DC8A3DB}" srcOrd="3" destOrd="0" presId="urn:microsoft.com/office/officeart/2005/8/layout/matrix1"/>
    <dgm:cxn modelId="{C6F2017F-0575-41BD-8284-A0C2BEC8D371}" type="presParOf" srcId="{2AB2E850-54BB-470C-AFEA-EE25890B4FD4}" destId="{62A83927-BD7C-46FF-8527-D4B59C3E881F}" srcOrd="4" destOrd="0" presId="urn:microsoft.com/office/officeart/2005/8/layout/matrix1"/>
    <dgm:cxn modelId="{7195DBCA-7C0F-47A1-970D-CD8227433276}" type="presParOf" srcId="{2AB2E850-54BB-470C-AFEA-EE25890B4FD4}" destId="{D141D63A-5726-441B-824D-8DF51B479D6E}" srcOrd="5" destOrd="0" presId="urn:microsoft.com/office/officeart/2005/8/layout/matrix1"/>
    <dgm:cxn modelId="{6C8A32F3-E0E1-4C15-BBCC-2EE37BCEB256}" type="presParOf" srcId="{2AB2E850-54BB-470C-AFEA-EE25890B4FD4}" destId="{2681E340-BC23-49F2-8282-021B779DAD63}" srcOrd="6" destOrd="0" presId="urn:microsoft.com/office/officeart/2005/8/layout/matrix1"/>
    <dgm:cxn modelId="{CD35ED29-2128-445E-B153-A3F54E97A529}" type="presParOf" srcId="{2AB2E850-54BB-470C-AFEA-EE25890B4FD4}" destId="{9C444DD6-B257-4A95-94EC-78065B7AB202}" srcOrd="7" destOrd="0" presId="urn:microsoft.com/office/officeart/2005/8/layout/matrix1"/>
    <dgm:cxn modelId="{96CFAA87-EFD5-419D-BE41-2F75324FEEEA}" type="presParOf" srcId="{2AEE65C6-B1F6-410A-8375-089A29026A58}" destId="{A1E1233F-6405-4070-9D0C-9D6D06009224}" srcOrd="1" destOrd="0" presId="urn:microsoft.com/office/officeart/2005/8/layout/matrix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7987AF0-C836-4CBE-87A4-0A4BF7396047}" type="presOf" srcId="{544A2B27-F62F-4504-85C1-82D7732CCB0A}" destId="{6B5B1B16-1D46-4D7F-892D-7D67FB436452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DD6C6526-86ED-4F3D-AF59-C1621D52FCC4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5FD62C52-7E5B-4F38-B628-213C03D76793}" type="presOf" srcId="{D14807FD-294C-4482-91EE-34C09B13669A}" destId="{BCE275B7-D1E9-4183-BABE-507E54E1C931}" srcOrd="0" destOrd="0" presId="urn:microsoft.com/office/officeart/2005/8/layout/chevron1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2A60A399-0598-430B-AA17-1881BC9F084A}" type="presOf" srcId="{EB61DA86-9B86-4759-822E-DA32F7AA073E}" destId="{135DB1F4-89C2-4733-9521-42FD5CECF10C}" srcOrd="0" destOrd="0" presId="urn:microsoft.com/office/officeart/2005/8/layout/chevron1"/>
    <dgm:cxn modelId="{402A77C8-80AB-4AF6-B788-DA3E3A14C23C}" type="presOf" srcId="{9C869D94-BD20-4CF6-9CAA-58E706B950F6}" destId="{0AECE453-CE2A-473C-BD27-70D00DA5B95C}" srcOrd="0" destOrd="0" presId="urn:microsoft.com/office/officeart/2005/8/layout/chevron1"/>
    <dgm:cxn modelId="{A5E59EF1-77AF-4EDF-AE45-CDC5390D7700}" type="presParOf" srcId="{0AECE453-CE2A-473C-BD27-70D00DA5B95C}" destId="{135DB1F4-89C2-4733-9521-42FD5CECF10C}" srcOrd="0" destOrd="0" presId="urn:microsoft.com/office/officeart/2005/8/layout/chevron1"/>
    <dgm:cxn modelId="{F2C58017-9C24-40EA-A6BA-6A9E0467E6ED}" type="presParOf" srcId="{0AECE453-CE2A-473C-BD27-70D00DA5B95C}" destId="{E1C76734-9ABE-473C-AD4C-C4BF49F91E97}" srcOrd="1" destOrd="0" presId="urn:microsoft.com/office/officeart/2005/8/layout/chevron1"/>
    <dgm:cxn modelId="{77BE2C80-850B-472A-9081-BFB1F4F486EF}" type="presParOf" srcId="{0AECE453-CE2A-473C-BD27-70D00DA5B95C}" destId="{6BF66C9A-92D4-481D-A538-FD1A4E3DC0D5}" srcOrd="2" destOrd="0" presId="urn:microsoft.com/office/officeart/2005/8/layout/chevron1"/>
    <dgm:cxn modelId="{5B3A5E1E-EEF9-4754-B6F5-D97776897BEC}" type="presParOf" srcId="{0AECE453-CE2A-473C-BD27-70D00DA5B95C}" destId="{691CB221-7DD5-49BE-AC21-301798066F30}" srcOrd="3" destOrd="0" presId="urn:microsoft.com/office/officeart/2005/8/layout/chevron1"/>
    <dgm:cxn modelId="{E609A3A6-D517-4A91-A3A8-3C007E912313}" type="presParOf" srcId="{0AECE453-CE2A-473C-BD27-70D00DA5B95C}" destId="{6B5B1B16-1D46-4D7F-892D-7D67FB436452}" srcOrd="4" destOrd="0" presId="urn:microsoft.com/office/officeart/2005/8/layout/chevron1"/>
    <dgm:cxn modelId="{088F0BAD-4397-40A6-8889-1E497B1421CA}" type="presParOf" srcId="{0AECE453-CE2A-473C-BD27-70D00DA5B95C}" destId="{E20E6850-4B52-4A6E-A4B6-B5AE207EA15E}" srcOrd="5" destOrd="0" presId="urn:microsoft.com/office/officeart/2005/8/layout/chevron1"/>
    <dgm:cxn modelId="{0D06918C-C94E-429C-B39B-53A07D5D0524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9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C88559B0-CAB1-44BF-93B1-238B1F158C50}" type="doc">
      <dgm:prSet loTypeId="urn:microsoft.com/office/officeart/2005/8/layout/vList5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B5D6904C-D49C-441C-8EF3-B2C5CA8CA324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de-DE" sz="2000" dirty="0" smtClean="0"/>
            <a:t>Introduction</a:t>
          </a:r>
          <a:endParaRPr lang="de-DE" sz="2000" dirty="0"/>
        </a:p>
      </dgm:t>
    </dgm:pt>
    <dgm:pt modelId="{7D7809BE-EDA2-4AEE-85AC-5BD9A27AF7FC}" type="parTrans" cxnId="{4DC94C7D-DEBB-49E4-B10C-0B2A30F8CA4A}">
      <dgm:prSet/>
      <dgm:spPr/>
      <dgm:t>
        <a:bodyPr/>
        <a:lstStyle/>
        <a:p>
          <a:endParaRPr lang="de-DE"/>
        </a:p>
      </dgm:t>
    </dgm:pt>
    <dgm:pt modelId="{9D121A9E-814F-41D0-B66B-C76165422DCA}" type="sibTrans" cxnId="{4DC94C7D-DEBB-49E4-B10C-0B2A30F8CA4A}">
      <dgm:prSet/>
      <dgm:spPr/>
      <dgm:t>
        <a:bodyPr/>
        <a:lstStyle/>
        <a:p>
          <a:endParaRPr lang="de-DE"/>
        </a:p>
      </dgm:t>
    </dgm:pt>
    <dgm:pt modelId="{07D05C88-76D6-4FF8-9D06-E0F6DFE64715}">
      <dgm:prSet phldrT="[Text]"/>
      <dgm:spPr/>
      <dgm:t>
        <a:bodyPr/>
        <a:lstStyle/>
        <a:p>
          <a:r>
            <a:rPr lang="de-DE" dirty="0" smtClean="0"/>
            <a:t>DevOps goals</a:t>
          </a:r>
          <a:endParaRPr lang="de-DE" dirty="0"/>
        </a:p>
      </dgm:t>
    </dgm:pt>
    <dgm:pt modelId="{96625500-A45A-43FB-BC6A-AB724EB6A77A}" type="parTrans" cxnId="{A83DCCDB-8D65-4EEB-B424-772E0C40501C}">
      <dgm:prSet/>
      <dgm:spPr/>
      <dgm:t>
        <a:bodyPr/>
        <a:lstStyle/>
        <a:p>
          <a:endParaRPr lang="de-DE"/>
        </a:p>
      </dgm:t>
    </dgm:pt>
    <dgm:pt modelId="{D654E585-11AE-4104-A363-46A23E49E846}" type="sibTrans" cxnId="{A83DCCDB-8D65-4EEB-B424-772E0C40501C}">
      <dgm:prSet/>
      <dgm:spPr/>
      <dgm:t>
        <a:bodyPr/>
        <a:lstStyle/>
        <a:p>
          <a:endParaRPr lang="de-DE"/>
        </a:p>
      </dgm:t>
    </dgm:pt>
    <dgm:pt modelId="{251B9E23-E011-4DBF-9C2F-F9F43DF4CF28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de-DE" sz="2000" dirty="0" smtClean="0"/>
            <a:t>OpenStack</a:t>
          </a:r>
          <a:endParaRPr lang="de-DE" sz="2000" dirty="0"/>
        </a:p>
      </dgm:t>
    </dgm:pt>
    <dgm:pt modelId="{BA587CE2-C358-42F9-B27F-18D4E153AD59}" type="parTrans" cxnId="{3D354F53-030B-4B78-A8D2-A8A1C79F17BC}">
      <dgm:prSet/>
      <dgm:spPr/>
      <dgm:t>
        <a:bodyPr/>
        <a:lstStyle/>
        <a:p>
          <a:endParaRPr lang="de-DE"/>
        </a:p>
      </dgm:t>
    </dgm:pt>
    <dgm:pt modelId="{36D95B76-898B-4617-820D-A1FE17F86A4A}" type="sibTrans" cxnId="{3D354F53-030B-4B78-A8D2-A8A1C79F17BC}">
      <dgm:prSet/>
      <dgm:spPr/>
      <dgm:t>
        <a:bodyPr/>
        <a:lstStyle/>
        <a:p>
          <a:endParaRPr lang="de-DE"/>
        </a:p>
      </dgm:t>
    </dgm:pt>
    <dgm:pt modelId="{6FDCFBA1-1455-4DA5-9D03-16B9B16DB190}">
      <dgm:prSet phldrT="[Text]"/>
      <dgm:spPr/>
      <dgm:t>
        <a:bodyPr/>
        <a:lstStyle/>
        <a:p>
          <a:r>
            <a:rPr lang="de-DE" dirty="0" smtClean="0"/>
            <a:t>Features</a:t>
          </a:r>
          <a:endParaRPr lang="de-DE" dirty="0"/>
        </a:p>
      </dgm:t>
    </dgm:pt>
    <dgm:pt modelId="{B7124394-68AD-4F66-AA3E-59BDED8ADF6A}" type="parTrans" cxnId="{06FCFD15-D775-4CF3-B2FF-C5A7ABC30CD7}">
      <dgm:prSet/>
      <dgm:spPr/>
      <dgm:t>
        <a:bodyPr/>
        <a:lstStyle/>
        <a:p>
          <a:endParaRPr lang="de-DE"/>
        </a:p>
      </dgm:t>
    </dgm:pt>
    <dgm:pt modelId="{01E72EE1-10DB-4793-8821-426B93A7D41C}" type="sibTrans" cxnId="{06FCFD15-D775-4CF3-B2FF-C5A7ABC30CD7}">
      <dgm:prSet/>
      <dgm:spPr/>
      <dgm:t>
        <a:bodyPr/>
        <a:lstStyle/>
        <a:p>
          <a:endParaRPr lang="de-DE"/>
        </a:p>
      </dgm:t>
    </dgm:pt>
    <dgm:pt modelId="{6FA0FFD3-1DA2-47F5-835E-CFE50E6B57E2}">
      <dgm:prSet phldrT="[Text]"/>
      <dgm:spPr/>
      <dgm:t>
        <a:bodyPr/>
        <a:lstStyle/>
        <a:p>
          <a:r>
            <a:rPr lang="de-DE" dirty="0" smtClean="0"/>
            <a:t>Software Overview</a:t>
          </a:r>
          <a:endParaRPr lang="de-DE" dirty="0"/>
        </a:p>
      </dgm:t>
    </dgm:pt>
    <dgm:pt modelId="{08B605ED-31E4-4D35-848F-06A7A13F2FE3}" type="parTrans" cxnId="{8E69BEDD-2B99-4F6B-980F-CAF4A4F4FA52}">
      <dgm:prSet/>
      <dgm:spPr/>
      <dgm:t>
        <a:bodyPr/>
        <a:lstStyle/>
        <a:p>
          <a:endParaRPr lang="de-DE"/>
        </a:p>
      </dgm:t>
    </dgm:pt>
    <dgm:pt modelId="{155282D7-E93D-43CC-975B-8DD637333FD2}" type="sibTrans" cxnId="{8E69BEDD-2B99-4F6B-980F-CAF4A4F4FA52}">
      <dgm:prSet/>
      <dgm:spPr/>
      <dgm:t>
        <a:bodyPr/>
        <a:lstStyle/>
        <a:p>
          <a:endParaRPr lang="de-DE"/>
        </a:p>
      </dgm:t>
    </dgm:pt>
    <dgm:pt modelId="{CE350EE0-9270-41A4-90E7-2809F2C20CAE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de-DE" sz="1800" dirty="0" smtClean="0"/>
            <a:t>TelekomCLOUD</a:t>
          </a:r>
          <a:endParaRPr lang="de-DE" sz="1800" dirty="0"/>
        </a:p>
      </dgm:t>
    </dgm:pt>
    <dgm:pt modelId="{0EC11659-F9E0-47F4-950D-699DB006DF45}" type="parTrans" cxnId="{377C8DF8-0F62-4648-BE1C-829F268E3DBB}">
      <dgm:prSet/>
      <dgm:spPr/>
      <dgm:t>
        <a:bodyPr/>
        <a:lstStyle/>
        <a:p>
          <a:endParaRPr lang="de-DE"/>
        </a:p>
      </dgm:t>
    </dgm:pt>
    <dgm:pt modelId="{14137E58-2D2A-4EFB-B5D1-9D509B50DEC3}" type="sibTrans" cxnId="{377C8DF8-0F62-4648-BE1C-829F268E3DBB}">
      <dgm:prSet/>
      <dgm:spPr/>
      <dgm:t>
        <a:bodyPr/>
        <a:lstStyle/>
        <a:p>
          <a:endParaRPr lang="de-DE"/>
        </a:p>
      </dgm:t>
    </dgm:pt>
    <dgm:pt modelId="{1968B98D-1F79-48F4-843D-EEAAFBF24535}">
      <dgm:prSet phldrT="[Text]"/>
      <dgm:spPr/>
      <dgm:t>
        <a:bodyPr/>
        <a:lstStyle/>
        <a:p>
          <a:r>
            <a:rPr lang="de-DE" dirty="0" smtClean="0"/>
            <a:t>Deployment</a:t>
          </a:r>
          <a:endParaRPr lang="de-DE" dirty="0"/>
        </a:p>
      </dgm:t>
    </dgm:pt>
    <dgm:pt modelId="{354286C7-8DAE-4CF9-8EA1-0109AF50410C}" type="parTrans" cxnId="{28D940F5-5F3C-468A-9F47-0866766CEE50}">
      <dgm:prSet/>
      <dgm:spPr/>
      <dgm:t>
        <a:bodyPr/>
        <a:lstStyle/>
        <a:p>
          <a:endParaRPr lang="de-DE"/>
        </a:p>
      </dgm:t>
    </dgm:pt>
    <dgm:pt modelId="{73602525-EFF2-4CC8-B065-7437096A11A5}" type="sibTrans" cxnId="{28D940F5-5F3C-468A-9F47-0866766CEE50}">
      <dgm:prSet/>
      <dgm:spPr/>
      <dgm:t>
        <a:bodyPr/>
        <a:lstStyle/>
        <a:p>
          <a:endParaRPr lang="de-DE"/>
        </a:p>
      </dgm:t>
    </dgm:pt>
    <dgm:pt modelId="{E4F4CE58-4869-4FF9-AE3C-64C2A7BAC8A2}">
      <dgm:prSet phldrT="[Text]"/>
      <dgm:spPr/>
      <dgm:t>
        <a:bodyPr/>
        <a:lstStyle/>
        <a:p>
          <a:r>
            <a:rPr lang="de-DE" dirty="0" smtClean="0"/>
            <a:t>Command lines</a:t>
          </a:r>
          <a:endParaRPr lang="de-DE" dirty="0"/>
        </a:p>
      </dgm:t>
    </dgm:pt>
    <dgm:pt modelId="{70055A7C-7B14-4865-B949-6BD650FD95EA}" type="parTrans" cxnId="{1C07EA66-DDF2-434E-9CBB-AD03B307D457}">
      <dgm:prSet/>
      <dgm:spPr/>
      <dgm:t>
        <a:bodyPr/>
        <a:lstStyle/>
        <a:p>
          <a:endParaRPr lang="de-DE"/>
        </a:p>
      </dgm:t>
    </dgm:pt>
    <dgm:pt modelId="{CCC10329-E6F7-4933-AF0C-5C6FFD7599EE}" type="sibTrans" cxnId="{1C07EA66-DDF2-434E-9CBB-AD03B307D457}">
      <dgm:prSet/>
      <dgm:spPr/>
      <dgm:t>
        <a:bodyPr/>
        <a:lstStyle/>
        <a:p>
          <a:endParaRPr lang="de-DE"/>
        </a:p>
      </dgm:t>
    </dgm:pt>
    <dgm:pt modelId="{CCCC570F-1257-4D0E-BD30-D1B6C5A96D1D}">
      <dgm:prSet phldrT="[Text]"/>
      <dgm:spPr/>
      <dgm:t>
        <a:bodyPr/>
        <a:lstStyle/>
        <a:p>
          <a:r>
            <a:rPr lang="de-DE" dirty="0" smtClean="0"/>
            <a:t>Key Terms</a:t>
          </a:r>
          <a:endParaRPr lang="de-DE" dirty="0"/>
        </a:p>
      </dgm:t>
    </dgm:pt>
    <dgm:pt modelId="{67D5C4C5-33E3-432D-BFA7-4D65E44B23DC}" type="parTrans" cxnId="{ECBD983B-5F82-4B89-B648-6515A97F637B}">
      <dgm:prSet/>
      <dgm:spPr/>
      <dgm:t>
        <a:bodyPr/>
        <a:lstStyle/>
        <a:p>
          <a:endParaRPr lang="de-DE"/>
        </a:p>
      </dgm:t>
    </dgm:pt>
    <dgm:pt modelId="{5B68C736-7C70-4202-BE1C-49D60B94C56A}" type="sibTrans" cxnId="{ECBD983B-5F82-4B89-B648-6515A97F637B}">
      <dgm:prSet/>
      <dgm:spPr/>
      <dgm:t>
        <a:bodyPr/>
        <a:lstStyle/>
        <a:p>
          <a:endParaRPr lang="de-DE"/>
        </a:p>
      </dgm:t>
    </dgm:pt>
    <dgm:pt modelId="{A2A62A9B-AB8B-4EC7-AEB2-270716C007B5}" type="pres">
      <dgm:prSet presAssocID="{C88559B0-CAB1-44BF-93B1-238B1F158C5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4485F3D3-D9BB-4157-8EAD-C1CB6247D9CA}" type="pres">
      <dgm:prSet presAssocID="{B5D6904C-D49C-441C-8EF3-B2C5CA8CA324}" presName="linNode" presStyleCnt="0"/>
      <dgm:spPr/>
    </dgm:pt>
    <dgm:pt modelId="{E11601EB-F660-440A-AEEA-AF4CFEF139C5}" type="pres">
      <dgm:prSet presAssocID="{B5D6904C-D49C-441C-8EF3-B2C5CA8CA324}" presName="parentText" presStyleLbl="node1" presStyleIdx="0" presStyleCnt="3" custScaleY="70824" custLinFactNeighborX="-24980" custLinFactNeighborY="-14627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48F2A67-E6E2-41D3-BBA0-9D50EB592CFC}" type="pres">
      <dgm:prSet presAssocID="{B5D6904C-D49C-441C-8EF3-B2C5CA8CA324}" presName="descendantText" presStyleLbl="alignAccFollowNode1" presStyleIdx="0" presStyleCnt="3" custScaleY="57949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D2FB6E-51C3-4C14-BE07-2781C781930D}" type="pres">
      <dgm:prSet presAssocID="{9D121A9E-814F-41D0-B66B-C76165422DCA}" presName="sp" presStyleCnt="0"/>
      <dgm:spPr/>
    </dgm:pt>
    <dgm:pt modelId="{FDF9A460-C2CA-48E3-B8E3-121E0CBE6AB7}" type="pres">
      <dgm:prSet presAssocID="{251B9E23-E011-4DBF-9C2F-F9F43DF4CF28}" presName="linNode" presStyleCnt="0"/>
      <dgm:spPr/>
    </dgm:pt>
    <dgm:pt modelId="{A257B72E-F754-444C-B866-6FAF8336919B}" type="pres">
      <dgm:prSet presAssocID="{251B9E23-E011-4DBF-9C2F-F9F43DF4CF28}" presName="parentText" presStyleLbl="node1" presStyleIdx="1" presStyleCnt="3" custScaleY="95798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9E695F-4BC6-419D-BDAC-FC9F0A0DDD23}" type="pres">
      <dgm:prSet presAssocID="{251B9E23-E011-4DBF-9C2F-F9F43DF4CF28}" presName="descendantText" presStyleLbl="alignAccFollowNode1" presStyleIdx="1" presStyleCnt="3" custScaleY="8939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1583CDC-85FB-42A5-931D-3068F2C4E237}" type="pres">
      <dgm:prSet presAssocID="{36D95B76-898B-4617-820D-A1FE17F86A4A}" presName="sp" presStyleCnt="0"/>
      <dgm:spPr/>
    </dgm:pt>
    <dgm:pt modelId="{87BEDE4D-9619-45FE-8D45-761BA3D28F9C}" type="pres">
      <dgm:prSet presAssocID="{CE350EE0-9270-41A4-90E7-2809F2C20CAE}" presName="linNode" presStyleCnt="0"/>
      <dgm:spPr/>
    </dgm:pt>
    <dgm:pt modelId="{6F9362EE-2ECA-4FA3-A6AD-C9543318F45F}" type="pres">
      <dgm:prSet presAssocID="{CE350EE0-9270-41A4-90E7-2809F2C20CAE}" presName="parentText" presStyleLbl="node1" presStyleIdx="2" presStyleCnt="3" custScaleY="70912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17F7B8-EB0F-4438-9B5F-C6AF959C98AD}" type="pres">
      <dgm:prSet presAssocID="{CE350EE0-9270-41A4-90E7-2809F2C20CAE}" presName="descendantText" presStyleLbl="alignAccFollowNode1" presStyleIdx="2" presStyleCnt="3" custScaleY="6133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3C5F02E-0FFE-4179-89A2-8C4A6E869616}" type="presOf" srcId="{B5D6904C-D49C-441C-8EF3-B2C5CA8CA324}" destId="{E11601EB-F660-440A-AEEA-AF4CFEF139C5}" srcOrd="0" destOrd="0" presId="urn:microsoft.com/office/officeart/2005/8/layout/vList5"/>
    <dgm:cxn modelId="{7D765690-33B0-483E-8A58-F8953F8B07B5}" type="presOf" srcId="{6FA0FFD3-1DA2-47F5-835E-CFE50E6B57E2}" destId="{EE9E695F-4BC6-419D-BDAC-FC9F0A0DDD23}" srcOrd="0" destOrd="1" presId="urn:microsoft.com/office/officeart/2005/8/layout/vList5"/>
    <dgm:cxn modelId="{D6968841-8266-48B5-B15D-CEA13BBEF748}" type="presOf" srcId="{1968B98D-1F79-48F4-843D-EEAAFBF24535}" destId="{7C17F7B8-EB0F-4438-9B5F-C6AF959C98AD}" srcOrd="0" destOrd="0" presId="urn:microsoft.com/office/officeart/2005/8/layout/vList5"/>
    <dgm:cxn modelId="{06FCFD15-D775-4CF3-B2FF-C5A7ABC30CD7}" srcId="{251B9E23-E011-4DBF-9C2F-F9F43DF4CF28}" destId="{6FDCFBA1-1455-4DA5-9D03-16B9B16DB190}" srcOrd="0" destOrd="0" parTransId="{B7124394-68AD-4F66-AA3E-59BDED8ADF6A}" sibTransId="{01E72EE1-10DB-4793-8821-426B93A7D41C}"/>
    <dgm:cxn modelId="{7086C475-44F8-42FF-9919-673CBD4406A1}" type="presOf" srcId="{CCCC570F-1257-4D0E-BD30-D1B6C5A96D1D}" destId="{EE9E695F-4BC6-419D-BDAC-FC9F0A0DDD23}" srcOrd="0" destOrd="3" presId="urn:microsoft.com/office/officeart/2005/8/layout/vList5"/>
    <dgm:cxn modelId="{8E69BEDD-2B99-4F6B-980F-CAF4A4F4FA52}" srcId="{251B9E23-E011-4DBF-9C2F-F9F43DF4CF28}" destId="{6FA0FFD3-1DA2-47F5-835E-CFE50E6B57E2}" srcOrd="1" destOrd="0" parTransId="{08B605ED-31E4-4D35-848F-06A7A13F2FE3}" sibTransId="{155282D7-E93D-43CC-975B-8DD637333FD2}"/>
    <dgm:cxn modelId="{3E3BCDAE-F0B2-49F6-8DF3-5882DC059F29}" type="presOf" srcId="{251B9E23-E011-4DBF-9C2F-F9F43DF4CF28}" destId="{A257B72E-F754-444C-B866-6FAF8336919B}" srcOrd="0" destOrd="0" presId="urn:microsoft.com/office/officeart/2005/8/layout/vList5"/>
    <dgm:cxn modelId="{377C8DF8-0F62-4648-BE1C-829F268E3DBB}" srcId="{C88559B0-CAB1-44BF-93B1-238B1F158C50}" destId="{CE350EE0-9270-41A4-90E7-2809F2C20CAE}" srcOrd="2" destOrd="0" parTransId="{0EC11659-F9E0-47F4-950D-699DB006DF45}" sibTransId="{14137E58-2D2A-4EFB-B5D1-9D509B50DEC3}"/>
    <dgm:cxn modelId="{3D354F53-030B-4B78-A8D2-A8A1C79F17BC}" srcId="{C88559B0-CAB1-44BF-93B1-238B1F158C50}" destId="{251B9E23-E011-4DBF-9C2F-F9F43DF4CF28}" srcOrd="1" destOrd="0" parTransId="{BA587CE2-C358-42F9-B27F-18D4E153AD59}" sibTransId="{36D95B76-898B-4617-820D-A1FE17F86A4A}"/>
    <dgm:cxn modelId="{A83DCCDB-8D65-4EEB-B424-772E0C40501C}" srcId="{B5D6904C-D49C-441C-8EF3-B2C5CA8CA324}" destId="{07D05C88-76D6-4FF8-9D06-E0F6DFE64715}" srcOrd="0" destOrd="0" parTransId="{96625500-A45A-43FB-BC6A-AB724EB6A77A}" sibTransId="{D654E585-11AE-4104-A363-46A23E49E846}"/>
    <dgm:cxn modelId="{4226A9C4-DC50-48B9-81B0-221BBB72A590}" type="presOf" srcId="{CE350EE0-9270-41A4-90E7-2809F2C20CAE}" destId="{6F9362EE-2ECA-4FA3-A6AD-C9543318F45F}" srcOrd="0" destOrd="0" presId="urn:microsoft.com/office/officeart/2005/8/layout/vList5"/>
    <dgm:cxn modelId="{F1E8C872-87AE-45F4-92E5-7EA96CF5E180}" type="presOf" srcId="{E4F4CE58-4869-4FF9-AE3C-64C2A7BAC8A2}" destId="{EE9E695F-4BC6-419D-BDAC-FC9F0A0DDD23}" srcOrd="0" destOrd="2" presId="urn:microsoft.com/office/officeart/2005/8/layout/vList5"/>
    <dgm:cxn modelId="{28D940F5-5F3C-468A-9F47-0866766CEE50}" srcId="{CE350EE0-9270-41A4-90E7-2809F2C20CAE}" destId="{1968B98D-1F79-48F4-843D-EEAAFBF24535}" srcOrd="0" destOrd="0" parTransId="{354286C7-8DAE-4CF9-8EA1-0109AF50410C}" sibTransId="{73602525-EFF2-4CC8-B065-7437096A11A5}"/>
    <dgm:cxn modelId="{1C07EA66-DDF2-434E-9CBB-AD03B307D457}" srcId="{251B9E23-E011-4DBF-9C2F-F9F43DF4CF28}" destId="{E4F4CE58-4869-4FF9-AE3C-64C2A7BAC8A2}" srcOrd="2" destOrd="0" parTransId="{70055A7C-7B14-4865-B949-6BD650FD95EA}" sibTransId="{CCC10329-E6F7-4933-AF0C-5C6FFD7599EE}"/>
    <dgm:cxn modelId="{4BB66F5F-0C57-4880-A7BD-20EF7EFF60E2}" type="presOf" srcId="{07D05C88-76D6-4FF8-9D06-E0F6DFE64715}" destId="{448F2A67-E6E2-41D3-BBA0-9D50EB592CFC}" srcOrd="0" destOrd="0" presId="urn:microsoft.com/office/officeart/2005/8/layout/vList5"/>
    <dgm:cxn modelId="{ECBD983B-5F82-4B89-B648-6515A97F637B}" srcId="{251B9E23-E011-4DBF-9C2F-F9F43DF4CF28}" destId="{CCCC570F-1257-4D0E-BD30-D1B6C5A96D1D}" srcOrd="3" destOrd="0" parTransId="{67D5C4C5-33E3-432D-BFA7-4D65E44B23DC}" sibTransId="{5B68C736-7C70-4202-BE1C-49D60B94C56A}"/>
    <dgm:cxn modelId="{3EF1E699-BD14-44CC-8D64-F141258444DC}" type="presOf" srcId="{C88559B0-CAB1-44BF-93B1-238B1F158C50}" destId="{A2A62A9B-AB8B-4EC7-AEB2-270716C007B5}" srcOrd="0" destOrd="0" presId="urn:microsoft.com/office/officeart/2005/8/layout/vList5"/>
    <dgm:cxn modelId="{4DC94C7D-DEBB-49E4-B10C-0B2A30F8CA4A}" srcId="{C88559B0-CAB1-44BF-93B1-238B1F158C50}" destId="{B5D6904C-D49C-441C-8EF3-B2C5CA8CA324}" srcOrd="0" destOrd="0" parTransId="{7D7809BE-EDA2-4AEE-85AC-5BD9A27AF7FC}" sibTransId="{9D121A9E-814F-41D0-B66B-C76165422DCA}"/>
    <dgm:cxn modelId="{3CF57D3C-999C-4A77-AB8B-4391CBDF5AFD}" type="presOf" srcId="{6FDCFBA1-1455-4DA5-9D03-16B9B16DB190}" destId="{EE9E695F-4BC6-419D-BDAC-FC9F0A0DDD23}" srcOrd="0" destOrd="0" presId="urn:microsoft.com/office/officeart/2005/8/layout/vList5"/>
    <dgm:cxn modelId="{FA3B8B55-23A8-47BC-959E-DF3C5E83822E}" type="presParOf" srcId="{A2A62A9B-AB8B-4EC7-AEB2-270716C007B5}" destId="{4485F3D3-D9BB-4157-8EAD-C1CB6247D9CA}" srcOrd="0" destOrd="0" presId="urn:microsoft.com/office/officeart/2005/8/layout/vList5"/>
    <dgm:cxn modelId="{4F7EE329-52C2-43D0-BC64-6BB40DFF9CFC}" type="presParOf" srcId="{4485F3D3-D9BB-4157-8EAD-C1CB6247D9CA}" destId="{E11601EB-F660-440A-AEEA-AF4CFEF139C5}" srcOrd="0" destOrd="0" presId="urn:microsoft.com/office/officeart/2005/8/layout/vList5"/>
    <dgm:cxn modelId="{87D619BD-D8DB-4880-A13B-0B9806ADFF00}" type="presParOf" srcId="{4485F3D3-D9BB-4157-8EAD-C1CB6247D9CA}" destId="{448F2A67-E6E2-41D3-BBA0-9D50EB592CFC}" srcOrd="1" destOrd="0" presId="urn:microsoft.com/office/officeart/2005/8/layout/vList5"/>
    <dgm:cxn modelId="{8C3B200C-4048-41D4-AF3E-5D9A4815550C}" type="presParOf" srcId="{A2A62A9B-AB8B-4EC7-AEB2-270716C007B5}" destId="{EED2FB6E-51C3-4C14-BE07-2781C781930D}" srcOrd="1" destOrd="0" presId="urn:microsoft.com/office/officeart/2005/8/layout/vList5"/>
    <dgm:cxn modelId="{D8AFAA4D-06EF-4E42-AD30-80FCB665D349}" type="presParOf" srcId="{A2A62A9B-AB8B-4EC7-AEB2-270716C007B5}" destId="{FDF9A460-C2CA-48E3-B8E3-121E0CBE6AB7}" srcOrd="2" destOrd="0" presId="urn:microsoft.com/office/officeart/2005/8/layout/vList5"/>
    <dgm:cxn modelId="{D50BC907-F240-4A74-865F-7CAE001B2C66}" type="presParOf" srcId="{FDF9A460-C2CA-48E3-B8E3-121E0CBE6AB7}" destId="{A257B72E-F754-444C-B866-6FAF8336919B}" srcOrd="0" destOrd="0" presId="urn:microsoft.com/office/officeart/2005/8/layout/vList5"/>
    <dgm:cxn modelId="{7D9E6458-0F8A-4C4E-AA02-D99164BFBCC5}" type="presParOf" srcId="{FDF9A460-C2CA-48E3-B8E3-121E0CBE6AB7}" destId="{EE9E695F-4BC6-419D-BDAC-FC9F0A0DDD23}" srcOrd="1" destOrd="0" presId="urn:microsoft.com/office/officeart/2005/8/layout/vList5"/>
    <dgm:cxn modelId="{1EBBE7E7-3BBA-461A-A0AB-B326441351B1}" type="presParOf" srcId="{A2A62A9B-AB8B-4EC7-AEB2-270716C007B5}" destId="{D1583CDC-85FB-42A5-931D-3068F2C4E237}" srcOrd="3" destOrd="0" presId="urn:microsoft.com/office/officeart/2005/8/layout/vList5"/>
    <dgm:cxn modelId="{896DDAD7-94E4-4E9E-B3EB-F84B37A783F5}" type="presParOf" srcId="{A2A62A9B-AB8B-4EC7-AEB2-270716C007B5}" destId="{87BEDE4D-9619-45FE-8D45-761BA3D28F9C}" srcOrd="4" destOrd="0" presId="urn:microsoft.com/office/officeart/2005/8/layout/vList5"/>
    <dgm:cxn modelId="{2FC52EA1-D143-4709-903D-E0348330890B}" type="presParOf" srcId="{87BEDE4D-9619-45FE-8D45-761BA3D28F9C}" destId="{6F9362EE-2ECA-4FA3-A6AD-C9543318F45F}" srcOrd="0" destOrd="0" presId="urn:microsoft.com/office/officeart/2005/8/layout/vList5"/>
    <dgm:cxn modelId="{92ACBFE8-E52C-4926-97D8-A43D0A13A586}" type="presParOf" srcId="{87BEDE4D-9619-45FE-8D45-761BA3D28F9C}" destId="{7C17F7B8-EB0F-4438-9B5F-C6AF959C98A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rgbClr val="E20074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/>
              </a:solidFill>
            </a:rPr>
            <a:t>2. TelekomCLOUD + OpenStack</a:t>
          </a:r>
          <a:endParaRPr lang="de-DE" dirty="0">
            <a:solidFill>
              <a:schemeClr val="bg1"/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A56E657-BC37-4428-A3F9-BF51E061C235}" type="presOf" srcId="{544A2B27-F62F-4504-85C1-82D7732CCB0A}" destId="{6B5B1B16-1D46-4D7F-892D-7D67FB436452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3F31FB36-EA94-49E9-97A2-F46D23AC15E4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7887E6D2-B359-478A-B606-D84C92F697B4}" type="presOf" srcId="{F351D095-D2C1-4F62-A18D-EFB4BA6E2AA9}" destId="{6BF66C9A-92D4-481D-A538-FD1A4E3DC0D5}" srcOrd="0" destOrd="0" presId="urn:microsoft.com/office/officeart/2005/8/layout/chevron1"/>
    <dgm:cxn modelId="{CFC29FA5-3E94-48CC-B517-F68C9557EA51}" type="presOf" srcId="{9C869D94-BD20-4CF6-9CAA-58E706B950F6}" destId="{0AECE453-CE2A-473C-BD27-70D00DA5B95C}" srcOrd="0" destOrd="0" presId="urn:microsoft.com/office/officeart/2005/8/layout/chevron1"/>
    <dgm:cxn modelId="{4F52A4E0-DFC0-478C-A8AD-9EC1FEFE1544}" type="presOf" srcId="{EB61DA86-9B86-4759-822E-DA32F7AA073E}" destId="{135DB1F4-89C2-4733-9521-42FD5CECF10C}" srcOrd="0" destOrd="0" presId="urn:microsoft.com/office/officeart/2005/8/layout/chevron1"/>
    <dgm:cxn modelId="{1ECDC5D7-2D93-4E81-8B9A-D2D166AD2C47}" type="presParOf" srcId="{0AECE453-CE2A-473C-BD27-70D00DA5B95C}" destId="{135DB1F4-89C2-4733-9521-42FD5CECF10C}" srcOrd="0" destOrd="0" presId="urn:microsoft.com/office/officeart/2005/8/layout/chevron1"/>
    <dgm:cxn modelId="{67BF29C0-24F1-4C5A-AABB-019A41D61B68}" type="presParOf" srcId="{0AECE453-CE2A-473C-BD27-70D00DA5B95C}" destId="{E1C76734-9ABE-473C-AD4C-C4BF49F91E97}" srcOrd="1" destOrd="0" presId="urn:microsoft.com/office/officeart/2005/8/layout/chevron1"/>
    <dgm:cxn modelId="{CB9ED4FA-3E63-4ABD-938B-294CEA1E2606}" type="presParOf" srcId="{0AECE453-CE2A-473C-BD27-70D00DA5B95C}" destId="{6BF66C9A-92D4-481D-A538-FD1A4E3DC0D5}" srcOrd="2" destOrd="0" presId="urn:microsoft.com/office/officeart/2005/8/layout/chevron1"/>
    <dgm:cxn modelId="{5EF6A266-D6FD-4960-B7C6-56856E2EF467}" type="presParOf" srcId="{0AECE453-CE2A-473C-BD27-70D00DA5B95C}" destId="{691CB221-7DD5-49BE-AC21-301798066F30}" srcOrd="3" destOrd="0" presId="urn:microsoft.com/office/officeart/2005/8/layout/chevron1"/>
    <dgm:cxn modelId="{23773DE9-FAE8-4603-A3EF-51139732DA0A}" type="presParOf" srcId="{0AECE453-CE2A-473C-BD27-70D00DA5B95C}" destId="{6B5B1B16-1D46-4D7F-892D-7D67FB436452}" srcOrd="4" destOrd="0" presId="urn:microsoft.com/office/officeart/2005/8/layout/chevron1"/>
    <dgm:cxn modelId="{0938D7DC-EDEA-42B4-804D-E75945016D34}" type="presParOf" srcId="{0AECE453-CE2A-473C-BD27-70D00DA5B95C}" destId="{E20E6850-4B52-4A6E-A4B6-B5AE207EA15E}" srcOrd="5" destOrd="0" presId="urn:microsoft.com/office/officeart/2005/8/layout/chevron1"/>
    <dgm:cxn modelId="{58F0D7E3-B351-410B-93B8-59227FC993E9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rgbClr val="E20074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/>
              </a:solidFill>
            </a:rPr>
            <a:t>2. TelekomCLOUD + OpenStack</a:t>
          </a:r>
          <a:endParaRPr lang="de-DE" dirty="0">
            <a:solidFill>
              <a:schemeClr val="bg1"/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1DF3798C-554A-498F-B7A9-DA14721AD708}" type="presOf" srcId="{D14807FD-294C-4482-91EE-34C09B13669A}" destId="{BCE275B7-D1E9-4183-BABE-507E54E1C931}" srcOrd="0" destOrd="0" presId="urn:microsoft.com/office/officeart/2005/8/layout/chevron1"/>
    <dgm:cxn modelId="{5AAB6074-E7E3-4A3F-A096-A8076986C253}" type="presOf" srcId="{9C869D94-BD20-4CF6-9CAA-58E706B950F6}" destId="{0AECE453-CE2A-473C-BD27-70D00DA5B95C}" srcOrd="0" destOrd="0" presId="urn:microsoft.com/office/officeart/2005/8/layout/chevron1"/>
    <dgm:cxn modelId="{066231C1-9B7C-446C-B5C2-C449DF0E1650}" type="presOf" srcId="{544A2B27-F62F-4504-85C1-82D7732CCB0A}" destId="{6B5B1B16-1D46-4D7F-892D-7D67FB436452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DB9A922A-706B-4643-A80E-C7E0BAF17609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8CB2CE2F-A60B-4E24-B5DC-24F6C5AEB63C}" type="presOf" srcId="{F351D095-D2C1-4F62-A18D-EFB4BA6E2AA9}" destId="{6BF66C9A-92D4-481D-A538-FD1A4E3DC0D5}" srcOrd="0" destOrd="0" presId="urn:microsoft.com/office/officeart/2005/8/layout/chevron1"/>
    <dgm:cxn modelId="{17E92F60-8D97-458F-BCFF-A61787D0359E}" type="presParOf" srcId="{0AECE453-CE2A-473C-BD27-70D00DA5B95C}" destId="{135DB1F4-89C2-4733-9521-42FD5CECF10C}" srcOrd="0" destOrd="0" presId="urn:microsoft.com/office/officeart/2005/8/layout/chevron1"/>
    <dgm:cxn modelId="{0903331C-866D-4656-8A4E-F7EE58002634}" type="presParOf" srcId="{0AECE453-CE2A-473C-BD27-70D00DA5B95C}" destId="{E1C76734-9ABE-473C-AD4C-C4BF49F91E97}" srcOrd="1" destOrd="0" presId="urn:microsoft.com/office/officeart/2005/8/layout/chevron1"/>
    <dgm:cxn modelId="{529595A0-AA43-45DC-9182-09B55213560B}" type="presParOf" srcId="{0AECE453-CE2A-473C-BD27-70D00DA5B95C}" destId="{6BF66C9A-92D4-481D-A538-FD1A4E3DC0D5}" srcOrd="2" destOrd="0" presId="urn:microsoft.com/office/officeart/2005/8/layout/chevron1"/>
    <dgm:cxn modelId="{16BA1355-12F0-4C7A-A146-948BD34CB30A}" type="presParOf" srcId="{0AECE453-CE2A-473C-BD27-70D00DA5B95C}" destId="{691CB221-7DD5-49BE-AC21-301798066F30}" srcOrd="3" destOrd="0" presId="urn:microsoft.com/office/officeart/2005/8/layout/chevron1"/>
    <dgm:cxn modelId="{DDEB9EC9-07B8-4B64-8404-FF43C788ED5E}" type="presParOf" srcId="{0AECE453-CE2A-473C-BD27-70D00DA5B95C}" destId="{6B5B1B16-1D46-4D7F-892D-7D67FB436452}" srcOrd="4" destOrd="0" presId="urn:microsoft.com/office/officeart/2005/8/layout/chevron1"/>
    <dgm:cxn modelId="{987BC952-6690-4862-8DC3-B40EDA61B4DA}" type="presParOf" srcId="{0AECE453-CE2A-473C-BD27-70D00DA5B95C}" destId="{E20E6850-4B52-4A6E-A4B6-B5AE207EA15E}" srcOrd="5" destOrd="0" presId="urn:microsoft.com/office/officeart/2005/8/layout/chevron1"/>
    <dgm:cxn modelId="{20ABC9AC-CAD4-44EC-9051-01F04A09D2FB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rgbClr val="E20074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/>
              </a:solidFill>
            </a:rPr>
            <a:t>2. TelekomCLOUD + OpenStack</a:t>
          </a:r>
          <a:endParaRPr lang="de-DE" dirty="0">
            <a:solidFill>
              <a:schemeClr val="bg1"/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EA4EA3B3-1B1E-4E89-ACD3-8577A7ED7130}" type="presOf" srcId="{544A2B27-F62F-4504-85C1-82D7732CCB0A}" destId="{6B5B1B16-1D46-4D7F-892D-7D67FB436452}" srcOrd="0" destOrd="0" presId="urn:microsoft.com/office/officeart/2005/8/layout/chevron1"/>
    <dgm:cxn modelId="{ECBF7ACC-AE3F-4ACB-8134-5183FB7A1CA7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97C345D0-9A05-47BA-B7B9-C77235036D62}" type="presOf" srcId="{9C869D94-BD20-4CF6-9CAA-58E706B950F6}" destId="{0AECE453-CE2A-473C-BD27-70D00DA5B95C}" srcOrd="0" destOrd="0" presId="urn:microsoft.com/office/officeart/2005/8/layout/chevron1"/>
    <dgm:cxn modelId="{6BDB0D13-B5C6-400C-A524-E09E8051C3F6}" type="presOf" srcId="{F351D095-D2C1-4F62-A18D-EFB4BA6E2AA9}" destId="{6BF66C9A-92D4-481D-A538-FD1A4E3DC0D5}" srcOrd="0" destOrd="0" presId="urn:microsoft.com/office/officeart/2005/8/layout/chevron1"/>
    <dgm:cxn modelId="{A21431AC-863C-4A1D-B515-93DEDC33E856}" type="presOf" srcId="{EB61DA86-9B86-4759-822E-DA32F7AA073E}" destId="{135DB1F4-89C2-4733-9521-42FD5CECF10C}" srcOrd="0" destOrd="0" presId="urn:microsoft.com/office/officeart/2005/8/layout/chevron1"/>
    <dgm:cxn modelId="{748F40EC-70B1-4985-9651-DA8B540A1828}" type="presParOf" srcId="{0AECE453-CE2A-473C-BD27-70D00DA5B95C}" destId="{135DB1F4-89C2-4733-9521-42FD5CECF10C}" srcOrd="0" destOrd="0" presId="urn:microsoft.com/office/officeart/2005/8/layout/chevron1"/>
    <dgm:cxn modelId="{873A6781-AE3D-4F1C-8F6A-D8C5976C2738}" type="presParOf" srcId="{0AECE453-CE2A-473C-BD27-70D00DA5B95C}" destId="{E1C76734-9ABE-473C-AD4C-C4BF49F91E97}" srcOrd="1" destOrd="0" presId="urn:microsoft.com/office/officeart/2005/8/layout/chevron1"/>
    <dgm:cxn modelId="{AABC5542-89D1-45D2-A67F-7216A768F870}" type="presParOf" srcId="{0AECE453-CE2A-473C-BD27-70D00DA5B95C}" destId="{6BF66C9A-92D4-481D-A538-FD1A4E3DC0D5}" srcOrd="2" destOrd="0" presId="urn:microsoft.com/office/officeart/2005/8/layout/chevron1"/>
    <dgm:cxn modelId="{2798C0CE-7B6A-4A46-A49B-FD2683B0C57D}" type="presParOf" srcId="{0AECE453-CE2A-473C-BD27-70D00DA5B95C}" destId="{691CB221-7DD5-49BE-AC21-301798066F30}" srcOrd="3" destOrd="0" presId="urn:microsoft.com/office/officeart/2005/8/layout/chevron1"/>
    <dgm:cxn modelId="{E4AAE318-63C9-423D-B13A-271A5F807F9C}" type="presParOf" srcId="{0AECE453-CE2A-473C-BD27-70D00DA5B95C}" destId="{6B5B1B16-1D46-4D7F-892D-7D67FB436452}" srcOrd="4" destOrd="0" presId="urn:microsoft.com/office/officeart/2005/8/layout/chevron1"/>
    <dgm:cxn modelId="{18515321-1820-4D55-AEE6-E723C7EEE4C3}" type="presParOf" srcId="{0AECE453-CE2A-473C-BD27-70D00DA5B95C}" destId="{E20E6850-4B52-4A6E-A4B6-B5AE207EA15E}" srcOrd="5" destOrd="0" presId="urn:microsoft.com/office/officeart/2005/8/layout/chevron1"/>
    <dgm:cxn modelId="{74DF5EE5-C6F5-46B5-8903-94891A701B33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6EA1D85-9DD4-4BA9-B132-DDA397EACC3B}" type="presOf" srcId="{544A2B27-F62F-4504-85C1-82D7732CCB0A}" destId="{6B5B1B16-1D46-4D7F-892D-7D67FB436452}" srcOrd="0" destOrd="0" presId="urn:microsoft.com/office/officeart/2005/8/layout/chevron1"/>
    <dgm:cxn modelId="{6A1C87BA-602C-4659-9B47-D67705B8E93F}" type="presOf" srcId="{EB61DA86-9B86-4759-822E-DA32F7AA073E}" destId="{135DB1F4-89C2-4733-9521-42FD5CECF10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7B0FC33E-CD41-4504-B59E-DFED6FC60E5F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E005A33E-9261-4E86-BDB6-55B9563133D9}" type="presOf" srcId="{9C869D94-BD20-4CF6-9CAA-58E706B950F6}" destId="{0AECE453-CE2A-473C-BD27-70D00DA5B95C}" srcOrd="0" destOrd="0" presId="urn:microsoft.com/office/officeart/2005/8/layout/chevron1"/>
    <dgm:cxn modelId="{0EC59711-91B8-414D-885E-42A32E0F9BBF}" type="presOf" srcId="{D14807FD-294C-4482-91EE-34C09B13669A}" destId="{BCE275B7-D1E9-4183-BABE-507E54E1C931}" srcOrd="0" destOrd="0" presId="urn:microsoft.com/office/officeart/2005/8/layout/chevron1"/>
    <dgm:cxn modelId="{68414E76-DD41-4018-8A89-37C4CAAD736E}" type="presParOf" srcId="{0AECE453-CE2A-473C-BD27-70D00DA5B95C}" destId="{135DB1F4-89C2-4733-9521-42FD5CECF10C}" srcOrd="0" destOrd="0" presId="urn:microsoft.com/office/officeart/2005/8/layout/chevron1"/>
    <dgm:cxn modelId="{CBFB86D6-CCFA-40E7-8992-402D6827BE21}" type="presParOf" srcId="{0AECE453-CE2A-473C-BD27-70D00DA5B95C}" destId="{E1C76734-9ABE-473C-AD4C-C4BF49F91E97}" srcOrd="1" destOrd="0" presId="urn:microsoft.com/office/officeart/2005/8/layout/chevron1"/>
    <dgm:cxn modelId="{5D6934AB-A976-41A0-AC22-40B33747BCDF}" type="presParOf" srcId="{0AECE453-CE2A-473C-BD27-70D00DA5B95C}" destId="{6BF66C9A-92D4-481D-A538-FD1A4E3DC0D5}" srcOrd="2" destOrd="0" presId="urn:microsoft.com/office/officeart/2005/8/layout/chevron1"/>
    <dgm:cxn modelId="{1D42783A-531C-430F-9FF4-A5887D7EB69E}" type="presParOf" srcId="{0AECE453-CE2A-473C-BD27-70D00DA5B95C}" destId="{691CB221-7DD5-49BE-AC21-301798066F30}" srcOrd="3" destOrd="0" presId="urn:microsoft.com/office/officeart/2005/8/layout/chevron1"/>
    <dgm:cxn modelId="{2215FC8C-6C3A-4888-BC61-67E8EB626FF7}" type="presParOf" srcId="{0AECE453-CE2A-473C-BD27-70D00DA5B95C}" destId="{6B5B1B16-1D46-4D7F-892D-7D67FB436452}" srcOrd="4" destOrd="0" presId="urn:microsoft.com/office/officeart/2005/8/layout/chevron1"/>
    <dgm:cxn modelId="{899D0D6A-CF85-48A0-8078-08C55F4F8E4A}" type="presParOf" srcId="{0AECE453-CE2A-473C-BD27-70D00DA5B95C}" destId="{E20E6850-4B52-4A6E-A4B6-B5AE207EA15E}" srcOrd="5" destOrd="0" presId="urn:microsoft.com/office/officeart/2005/8/layout/chevron1"/>
    <dgm:cxn modelId="{AF6306A1-8687-43D8-8FC8-EAC26F402939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C954CEC6-D6DD-4AD5-B1BE-F4C362F708A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375BE85D-703A-4153-B3A9-B7ECDAE63A3E}">
      <dgm:prSet phldrT="[Text]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>
        <a:solidFill>
          <a:schemeClr val="tx1"/>
        </a:solidFill>
      </dgm:spPr>
      <dgm:t>
        <a:bodyPr/>
        <a:lstStyle/>
        <a:p>
          <a:r>
            <a:rPr lang="de-DE" b="1" dirty="0" smtClean="0">
              <a:solidFill>
                <a:schemeClr val="bg1"/>
              </a:solidFill>
            </a:rPr>
            <a:t>Video coming soon !</a:t>
          </a:r>
        </a:p>
      </dgm:t>
    </dgm:pt>
    <dgm:pt modelId="{06BFAC52-B8D5-4E76-99F3-FEC15BEB0EE7}" type="parTrans" cxnId="{E0E09A5B-DCCB-4306-8C6C-194F3FBBF91D}">
      <dgm:prSet/>
      <dgm:spPr/>
      <dgm:t>
        <a:bodyPr/>
        <a:lstStyle/>
        <a:p>
          <a:endParaRPr lang="de-DE"/>
        </a:p>
      </dgm:t>
    </dgm:pt>
    <dgm:pt modelId="{D488621D-67A8-4353-921A-741343674690}" type="sibTrans" cxnId="{E0E09A5B-DCCB-4306-8C6C-194F3FBBF91D}">
      <dgm:prSet/>
      <dgm:spPr/>
      <dgm:t>
        <a:bodyPr/>
        <a:lstStyle/>
        <a:p>
          <a:endParaRPr lang="de-DE"/>
        </a:p>
      </dgm:t>
    </dgm:pt>
    <dgm:pt modelId="{0A240859-8B98-4BE6-95B6-2FD30530FEE4}" type="pres">
      <dgm:prSet presAssocID="{C954CEC6-D6DD-4AD5-B1BE-F4C362F708A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9D7791F-105A-4F01-86CE-28F0799E1AAF}" type="pres">
      <dgm:prSet presAssocID="{375BE85D-703A-4153-B3A9-B7ECDAE63A3E}" presName="node" presStyleLbl="node1" presStyleIdx="0" presStyleCnt="1" custScaleX="10063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0E09A5B-DCCB-4306-8C6C-194F3FBBF91D}" srcId="{C954CEC6-D6DD-4AD5-B1BE-F4C362F708A5}" destId="{375BE85D-703A-4153-B3A9-B7ECDAE63A3E}" srcOrd="0" destOrd="0" parTransId="{06BFAC52-B8D5-4E76-99F3-FEC15BEB0EE7}" sibTransId="{D488621D-67A8-4353-921A-741343674690}"/>
    <dgm:cxn modelId="{4A39837A-5302-4771-8AF1-B77C30083628}" type="presOf" srcId="{375BE85D-703A-4153-B3A9-B7ECDAE63A3E}" destId="{29D7791F-105A-4F01-86CE-28F0799E1AAF}" srcOrd="0" destOrd="0" presId="urn:microsoft.com/office/officeart/2005/8/layout/default"/>
    <dgm:cxn modelId="{14DD6980-A11A-4B1B-87B0-232D39AC3EC3}" type="presOf" srcId="{C954CEC6-D6DD-4AD5-B1BE-F4C362F708A5}" destId="{0A240859-8B98-4BE6-95B6-2FD30530FEE4}" srcOrd="0" destOrd="0" presId="urn:microsoft.com/office/officeart/2005/8/layout/default"/>
    <dgm:cxn modelId="{CB5E9E40-35EB-40B7-922A-5637F84BADBB}" type="presParOf" srcId="{0A240859-8B98-4BE6-95B6-2FD30530FEE4}" destId="{29D7791F-105A-4F01-86CE-28F0799E1AAF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88559B0-CAB1-44BF-93B1-238B1F158C50}" type="doc">
      <dgm:prSet loTypeId="urn:microsoft.com/office/officeart/2005/8/layout/vList5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B5D6904C-D49C-441C-8EF3-B2C5CA8CA324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Person</a:t>
          </a:r>
          <a:endParaRPr lang="de-DE" dirty="0"/>
        </a:p>
      </dgm:t>
    </dgm:pt>
    <dgm:pt modelId="{7D7809BE-EDA2-4AEE-85AC-5BD9A27AF7FC}" type="parTrans" cxnId="{4DC94C7D-DEBB-49E4-B10C-0B2A30F8CA4A}">
      <dgm:prSet/>
      <dgm:spPr/>
      <dgm:t>
        <a:bodyPr/>
        <a:lstStyle/>
        <a:p>
          <a:endParaRPr lang="de-DE"/>
        </a:p>
      </dgm:t>
    </dgm:pt>
    <dgm:pt modelId="{9D121A9E-814F-41D0-B66B-C76165422DCA}" type="sibTrans" cxnId="{4DC94C7D-DEBB-49E4-B10C-0B2A30F8CA4A}">
      <dgm:prSet/>
      <dgm:spPr/>
      <dgm:t>
        <a:bodyPr/>
        <a:lstStyle/>
        <a:p>
          <a:endParaRPr lang="de-DE"/>
        </a:p>
      </dgm:t>
    </dgm:pt>
    <dgm:pt modelId="{07D05C88-76D6-4FF8-9D06-E0F6DFE64715}">
      <dgm:prSet phldrT="[Text]" custT="1"/>
      <dgm:spPr/>
      <dgm:t>
        <a:bodyPr/>
        <a:lstStyle/>
        <a:p>
          <a:r>
            <a:rPr lang="de-DE" sz="1600" dirty="0" smtClean="0"/>
            <a:t>Name : Frank Kloeker</a:t>
          </a:r>
          <a:endParaRPr lang="de-DE" sz="1600" dirty="0"/>
        </a:p>
      </dgm:t>
    </dgm:pt>
    <dgm:pt modelId="{96625500-A45A-43FB-BC6A-AB724EB6A77A}" type="parTrans" cxnId="{A83DCCDB-8D65-4EEB-B424-772E0C40501C}">
      <dgm:prSet/>
      <dgm:spPr/>
      <dgm:t>
        <a:bodyPr/>
        <a:lstStyle/>
        <a:p>
          <a:endParaRPr lang="de-DE"/>
        </a:p>
      </dgm:t>
    </dgm:pt>
    <dgm:pt modelId="{D654E585-11AE-4104-A363-46A23E49E846}" type="sibTrans" cxnId="{A83DCCDB-8D65-4EEB-B424-772E0C40501C}">
      <dgm:prSet/>
      <dgm:spPr/>
      <dgm:t>
        <a:bodyPr/>
        <a:lstStyle/>
        <a:p>
          <a:endParaRPr lang="de-DE"/>
        </a:p>
      </dgm:t>
    </dgm:pt>
    <dgm:pt modelId="{251B9E23-E011-4DBF-9C2F-F9F43DF4CF28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Education</a:t>
          </a:r>
          <a:endParaRPr lang="de-DE" dirty="0"/>
        </a:p>
      </dgm:t>
    </dgm:pt>
    <dgm:pt modelId="{BA587CE2-C358-42F9-B27F-18D4E153AD59}" type="parTrans" cxnId="{3D354F53-030B-4B78-A8D2-A8A1C79F17BC}">
      <dgm:prSet/>
      <dgm:spPr/>
      <dgm:t>
        <a:bodyPr/>
        <a:lstStyle/>
        <a:p>
          <a:endParaRPr lang="de-DE"/>
        </a:p>
      </dgm:t>
    </dgm:pt>
    <dgm:pt modelId="{36D95B76-898B-4617-820D-A1FE17F86A4A}" type="sibTrans" cxnId="{3D354F53-030B-4B78-A8D2-A8A1C79F17BC}">
      <dgm:prSet/>
      <dgm:spPr/>
      <dgm:t>
        <a:bodyPr/>
        <a:lstStyle/>
        <a:p>
          <a:endParaRPr lang="de-DE"/>
        </a:p>
      </dgm:t>
    </dgm:pt>
    <dgm:pt modelId="{6FDCFBA1-1455-4DA5-9D03-16B9B16DB190}">
      <dgm:prSet phldrT="[Text]" custT="1"/>
      <dgm:spPr/>
      <dgm:t>
        <a:bodyPr/>
        <a:lstStyle/>
        <a:p>
          <a:r>
            <a:rPr lang="de-DE" sz="1600" dirty="0" smtClean="0"/>
            <a:t>27 years of experience in Operations</a:t>
          </a:r>
          <a:endParaRPr lang="de-DE" sz="1600" dirty="0"/>
        </a:p>
      </dgm:t>
    </dgm:pt>
    <dgm:pt modelId="{B7124394-68AD-4F66-AA3E-59BDED8ADF6A}" type="parTrans" cxnId="{06FCFD15-D775-4CF3-B2FF-C5A7ABC30CD7}">
      <dgm:prSet/>
      <dgm:spPr/>
      <dgm:t>
        <a:bodyPr/>
        <a:lstStyle/>
        <a:p>
          <a:endParaRPr lang="de-DE"/>
        </a:p>
      </dgm:t>
    </dgm:pt>
    <dgm:pt modelId="{01E72EE1-10DB-4793-8821-426B93A7D41C}" type="sibTrans" cxnId="{06FCFD15-D775-4CF3-B2FF-C5A7ABC30CD7}">
      <dgm:prSet/>
      <dgm:spPr/>
      <dgm:t>
        <a:bodyPr/>
        <a:lstStyle/>
        <a:p>
          <a:endParaRPr lang="de-DE"/>
        </a:p>
      </dgm:t>
    </dgm:pt>
    <dgm:pt modelId="{CE350EE0-9270-41A4-90E7-2809F2C20CAE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Today</a:t>
          </a:r>
          <a:endParaRPr lang="de-DE" dirty="0"/>
        </a:p>
      </dgm:t>
    </dgm:pt>
    <dgm:pt modelId="{0EC11659-F9E0-47F4-950D-699DB006DF45}" type="parTrans" cxnId="{377C8DF8-0F62-4648-BE1C-829F268E3DBB}">
      <dgm:prSet/>
      <dgm:spPr/>
      <dgm:t>
        <a:bodyPr/>
        <a:lstStyle/>
        <a:p>
          <a:endParaRPr lang="de-DE"/>
        </a:p>
      </dgm:t>
    </dgm:pt>
    <dgm:pt modelId="{14137E58-2D2A-4EFB-B5D1-9D509B50DEC3}" type="sibTrans" cxnId="{377C8DF8-0F62-4648-BE1C-829F268E3DBB}">
      <dgm:prSet/>
      <dgm:spPr/>
      <dgm:t>
        <a:bodyPr/>
        <a:lstStyle/>
        <a:p>
          <a:endParaRPr lang="de-DE"/>
        </a:p>
      </dgm:t>
    </dgm:pt>
    <dgm:pt modelId="{1968B98D-1F79-48F4-843D-EEAAFBF24535}">
      <dgm:prSet phldrT="[Text]"/>
      <dgm:spPr/>
      <dgm:t>
        <a:bodyPr/>
        <a:lstStyle/>
        <a:p>
          <a:r>
            <a:rPr lang="de-DE" dirty="0" smtClean="0"/>
            <a:t>Applicationmanagement for Cloud hosting platform</a:t>
          </a:r>
          <a:endParaRPr lang="de-DE" dirty="0"/>
        </a:p>
      </dgm:t>
    </dgm:pt>
    <dgm:pt modelId="{354286C7-8DAE-4CF9-8EA1-0109AF50410C}" type="parTrans" cxnId="{28D940F5-5F3C-468A-9F47-0866766CEE50}">
      <dgm:prSet/>
      <dgm:spPr/>
      <dgm:t>
        <a:bodyPr/>
        <a:lstStyle/>
        <a:p>
          <a:endParaRPr lang="de-DE"/>
        </a:p>
      </dgm:t>
    </dgm:pt>
    <dgm:pt modelId="{73602525-EFF2-4CC8-B065-7437096A11A5}" type="sibTrans" cxnId="{28D940F5-5F3C-468A-9F47-0866766CEE50}">
      <dgm:prSet/>
      <dgm:spPr/>
      <dgm:t>
        <a:bodyPr/>
        <a:lstStyle/>
        <a:p>
          <a:endParaRPr lang="de-DE"/>
        </a:p>
      </dgm:t>
    </dgm:pt>
    <dgm:pt modelId="{973E6E7E-EA01-4282-8A35-A28F041D1B4C}">
      <dgm:prSet phldrT="[Text]" custT="1"/>
      <dgm:spPr/>
      <dgm:t>
        <a:bodyPr/>
        <a:lstStyle/>
        <a:p>
          <a:r>
            <a:rPr lang="de-DE" sz="1600" dirty="0" smtClean="0"/>
            <a:t>From : Berlin</a:t>
          </a:r>
          <a:endParaRPr lang="de-DE" sz="1600" dirty="0"/>
        </a:p>
      </dgm:t>
    </dgm:pt>
    <dgm:pt modelId="{FF3B188C-1936-455F-94FB-C48B6C0EB124}" type="parTrans" cxnId="{8A510F8E-2FB4-4FC7-9D82-0D998C4BE42D}">
      <dgm:prSet/>
      <dgm:spPr/>
      <dgm:t>
        <a:bodyPr/>
        <a:lstStyle/>
        <a:p>
          <a:endParaRPr lang="de-DE"/>
        </a:p>
      </dgm:t>
    </dgm:pt>
    <dgm:pt modelId="{E035FA9F-6496-47CF-9EE7-625EF6E231CA}" type="sibTrans" cxnId="{8A510F8E-2FB4-4FC7-9D82-0D998C4BE42D}">
      <dgm:prSet/>
      <dgm:spPr/>
      <dgm:t>
        <a:bodyPr/>
        <a:lstStyle/>
        <a:p>
          <a:endParaRPr lang="de-DE"/>
        </a:p>
      </dgm:t>
    </dgm:pt>
    <dgm:pt modelId="{01B7AF1F-76D9-444C-A3C4-D34A87C7C385}">
      <dgm:prSet phldrT="[Text]"/>
      <dgm:spPr/>
      <dgm:t>
        <a:bodyPr/>
        <a:lstStyle/>
        <a:p>
          <a:r>
            <a:rPr lang="de-DE" dirty="0" smtClean="0"/>
            <a:t>personal point of contact for Apprentices</a:t>
          </a:r>
          <a:endParaRPr lang="de-DE" dirty="0"/>
        </a:p>
      </dgm:t>
    </dgm:pt>
    <dgm:pt modelId="{557EAD3B-2053-40CE-9367-308EA22DFF7B}" type="parTrans" cxnId="{5314845C-E05B-41B2-B8B1-B96962A5748A}">
      <dgm:prSet/>
      <dgm:spPr/>
      <dgm:t>
        <a:bodyPr/>
        <a:lstStyle/>
        <a:p>
          <a:endParaRPr lang="de-DE"/>
        </a:p>
      </dgm:t>
    </dgm:pt>
    <dgm:pt modelId="{6DB60F5A-19EC-4CF4-A1DC-23C908C6AF10}" type="sibTrans" cxnId="{5314845C-E05B-41B2-B8B1-B96962A5748A}">
      <dgm:prSet/>
      <dgm:spPr/>
      <dgm:t>
        <a:bodyPr/>
        <a:lstStyle/>
        <a:p>
          <a:endParaRPr lang="de-DE"/>
        </a:p>
      </dgm:t>
    </dgm:pt>
    <dgm:pt modelId="{51B82884-660E-4227-8BA3-645B80AFC0EE}">
      <dgm:prSet phldrT="[Text]"/>
      <dgm:spPr/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/>
        </a:p>
      </dgm:t>
    </dgm:pt>
    <dgm:pt modelId="{60DD0A23-826D-4F6B-BA86-AA0F901DE3D0}" type="parTrans" cxnId="{6FCEEC0A-BF54-47D9-9B8D-3456D5F90F07}">
      <dgm:prSet/>
      <dgm:spPr/>
      <dgm:t>
        <a:bodyPr/>
        <a:lstStyle/>
        <a:p>
          <a:endParaRPr lang="de-DE"/>
        </a:p>
      </dgm:t>
    </dgm:pt>
    <dgm:pt modelId="{D166F56C-3123-4EF7-BFB8-BB165474D568}" type="sibTrans" cxnId="{6FCEEC0A-BF54-47D9-9B8D-3456D5F90F07}">
      <dgm:prSet/>
      <dgm:spPr/>
      <dgm:t>
        <a:bodyPr/>
        <a:lstStyle/>
        <a:p>
          <a:endParaRPr lang="de-DE"/>
        </a:p>
      </dgm:t>
    </dgm:pt>
    <dgm:pt modelId="{2F2F43C2-2AB6-4104-9881-C28442A1DBCF}">
      <dgm:prSet/>
      <dgm:spPr/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F7BF79B8-464D-4ACD-AA18-B6B719E4E5C9}" type="parTrans" cxnId="{B290E587-3C0B-4013-A8A5-63F15B065740}">
      <dgm:prSet/>
      <dgm:spPr/>
      <dgm:t>
        <a:bodyPr/>
        <a:lstStyle/>
        <a:p>
          <a:endParaRPr lang="de-DE"/>
        </a:p>
      </dgm:t>
    </dgm:pt>
    <dgm:pt modelId="{109C9B38-11BF-42F4-847C-03233D347413}" type="sibTrans" cxnId="{B290E587-3C0B-4013-A8A5-63F15B065740}">
      <dgm:prSet/>
      <dgm:spPr/>
      <dgm:t>
        <a:bodyPr/>
        <a:lstStyle/>
        <a:p>
          <a:endParaRPr lang="de-DE"/>
        </a:p>
      </dgm:t>
    </dgm:pt>
    <dgm:pt modelId="{E1CB491F-5046-43FD-8F97-D9D4375E7DB9}">
      <dgm:prSet phldrT="[Text]" custT="1"/>
      <dgm:spPr/>
      <dgm:t>
        <a:bodyPr/>
        <a:lstStyle/>
        <a:p>
          <a:r>
            <a:rPr lang="de-DE" sz="1600" dirty="0" smtClean="0"/>
            <a:t>10 years Examiner on Chamber of Commerce and Industry </a:t>
          </a:r>
          <a:endParaRPr lang="de-DE" sz="1600" dirty="0"/>
        </a:p>
      </dgm:t>
    </dgm:pt>
    <dgm:pt modelId="{8954813B-8F36-45E7-9D90-DB4F3CB234E3}" type="parTrans" cxnId="{0C725A33-13F5-4F07-B24F-DAAEAC6E624B}">
      <dgm:prSet/>
      <dgm:spPr/>
      <dgm:t>
        <a:bodyPr/>
        <a:lstStyle/>
        <a:p>
          <a:endParaRPr lang="de-DE"/>
        </a:p>
      </dgm:t>
    </dgm:pt>
    <dgm:pt modelId="{1651D35A-63EA-4A86-93ED-A2FB2B93AE8F}" type="sibTrans" cxnId="{0C725A33-13F5-4F07-B24F-DAAEAC6E624B}">
      <dgm:prSet/>
      <dgm:spPr/>
      <dgm:t>
        <a:bodyPr/>
        <a:lstStyle/>
        <a:p>
          <a:endParaRPr lang="de-DE"/>
        </a:p>
      </dgm:t>
    </dgm:pt>
    <dgm:pt modelId="{A2A62A9B-AB8B-4EC7-AEB2-270716C007B5}" type="pres">
      <dgm:prSet presAssocID="{C88559B0-CAB1-44BF-93B1-238B1F158C5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4485F3D3-D9BB-4157-8EAD-C1CB6247D9CA}" type="pres">
      <dgm:prSet presAssocID="{B5D6904C-D49C-441C-8EF3-B2C5CA8CA324}" presName="linNode" presStyleCnt="0"/>
      <dgm:spPr/>
    </dgm:pt>
    <dgm:pt modelId="{E11601EB-F660-440A-AEEA-AF4CFEF139C5}" type="pres">
      <dgm:prSet presAssocID="{B5D6904C-D49C-441C-8EF3-B2C5CA8CA324}" presName="parentText" presStyleLbl="node1" presStyleIdx="0" presStyleCnt="3" custScaleY="64840" custLinFactNeighborX="-24980" custLinFactNeighborY="-14627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48F2A67-E6E2-41D3-BBA0-9D50EB592CFC}" type="pres">
      <dgm:prSet presAssocID="{B5D6904C-D49C-441C-8EF3-B2C5CA8CA324}" presName="descendantText" presStyleLbl="alignAccFollowNode1" presStyleIdx="0" presStyleCnt="3" custScaleX="149647" custScaleY="61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D2FB6E-51C3-4C14-BE07-2781C781930D}" type="pres">
      <dgm:prSet presAssocID="{9D121A9E-814F-41D0-B66B-C76165422DCA}" presName="sp" presStyleCnt="0"/>
      <dgm:spPr/>
    </dgm:pt>
    <dgm:pt modelId="{FDF9A460-C2CA-48E3-B8E3-121E0CBE6AB7}" type="pres">
      <dgm:prSet presAssocID="{251B9E23-E011-4DBF-9C2F-F9F43DF4CF28}" presName="linNode" presStyleCnt="0"/>
      <dgm:spPr/>
    </dgm:pt>
    <dgm:pt modelId="{A257B72E-F754-444C-B866-6FAF8336919B}" type="pres">
      <dgm:prSet presAssocID="{251B9E23-E011-4DBF-9C2F-F9F43DF4CF28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9E695F-4BC6-419D-BDAC-FC9F0A0DDD23}" type="pres">
      <dgm:prSet presAssocID="{251B9E23-E011-4DBF-9C2F-F9F43DF4CF28}" presName="descendantText" presStyleLbl="alignAccFollowNode1" presStyleIdx="1" presStyleCnt="3" custScaleX="14912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1583CDC-85FB-42A5-931D-3068F2C4E237}" type="pres">
      <dgm:prSet presAssocID="{36D95B76-898B-4617-820D-A1FE17F86A4A}" presName="sp" presStyleCnt="0"/>
      <dgm:spPr/>
    </dgm:pt>
    <dgm:pt modelId="{87BEDE4D-9619-45FE-8D45-761BA3D28F9C}" type="pres">
      <dgm:prSet presAssocID="{CE350EE0-9270-41A4-90E7-2809F2C20CAE}" presName="linNode" presStyleCnt="0"/>
      <dgm:spPr/>
    </dgm:pt>
    <dgm:pt modelId="{6F9362EE-2ECA-4FA3-A6AD-C9543318F45F}" type="pres">
      <dgm:prSet presAssocID="{CE350EE0-9270-41A4-90E7-2809F2C20CAE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17F7B8-EB0F-4438-9B5F-C6AF959C98AD}" type="pres">
      <dgm:prSet presAssocID="{CE350EE0-9270-41A4-90E7-2809F2C20CAE}" presName="descendantText" presStyleLbl="alignAccFollowNode1" presStyleIdx="2" presStyleCnt="3" custScaleX="14832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90FF246-DC7E-4520-AA70-CA788FDFF311}" type="presOf" srcId="{6FDCFBA1-1455-4DA5-9D03-16B9B16DB190}" destId="{EE9E695F-4BC6-419D-BDAC-FC9F0A0DDD23}" srcOrd="0" destOrd="0" presId="urn:microsoft.com/office/officeart/2005/8/layout/vList5"/>
    <dgm:cxn modelId="{3A6A57E9-C268-4994-8482-306152AC4025}" type="presOf" srcId="{B5D6904C-D49C-441C-8EF3-B2C5CA8CA324}" destId="{E11601EB-F660-440A-AEEA-AF4CFEF139C5}" srcOrd="0" destOrd="0" presId="urn:microsoft.com/office/officeart/2005/8/layout/vList5"/>
    <dgm:cxn modelId="{D86218F6-AC3F-4527-9F67-E231C115D825}" type="presOf" srcId="{01B7AF1F-76D9-444C-A3C4-D34A87C7C385}" destId="{7C17F7B8-EB0F-4438-9B5F-C6AF959C98AD}" srcOrd="0" destOrd="1" presId="urn:microsoft.com/office/officeart/2005/8/layout/vList5"/>
    <dgm:cxn modelId="{06FCFD15-D775-4CF3-B2FF-C5A7ABC30CD7}" srcId="{251B9E23-E011-4DBF-9C2F-F9F43DF4CF28}" destId="{6FDCFBA1-1455-4DA5-9D03-16B9B16DB190}" srcOrd="0" destOrd="0" parTransId="{B7124394-68AD-4F66-AA3E-59BDED8ADF6A}" sibTransId="{01E72EE1-10DB-4793-8821-426B93A7D41C}"/>
    <dgm:cxn modelId="{257EAFC4-392B-4BF2-ACD4-598C6F38D92C}" type="presOf" srcId="{51B82884-660E-4227-8BA3-645B80AFC0EE}" destId="{7C17F7B8-EB0F-4438-9B5F-C6AF959C98AD}" srcOrd="0" destOrd="2" presId="urn:microsoft.com/office/officeart/2005/8/layout/vList5"/>
    <dgm:cxn modelId="{246C07D0-BAE6-44C4-9707-AD68477F4FA6}" type="presOf" srcId="{CE350EE0-9270-41A4-90E7-2809F2C20CAE}" destId="{6F9362EE-2ECA-4FA3-A6AD-C9543318F45F}" srcOrd="0" destOrd="0" presId="urn:microsoft.com/office/officeart/2005/8/layout/vList5"/>
    <dgm:cxn modelId="{377C8DF8-0F62-4648-BE1C-829F268E3DBB}" srcId="{C88559B0-CAB1-44BF-93B1-238B1F158C50}" destId="{CE350EE0-9270-41A4-90E7-2809F2C20CAE}" srcOrd="2" destOrd="0" parTransId="{0EC11659-F9E0-47F4-950D-699DB006DF45}" sibTransId="{14137E58-2D2A-4EFB-B5D1-9D509B50DEC3}"/>
    <dgm:cxn modelId="{3D354F53-030B-4B78-A8D2-A8A1C79F17BC}" srcId="{C88559B0-CAB1-44BF-93B1-238B1F158C50}" destId="{251B9E23-E011-4DBF-9C2F-F9F43DF4CF28}" srcOrd="1" destOrd="0" parTransId="{BA587CE2-C358-42F9-B27F-18D4E153AD59}" sibTransId="{36D95B76-898B-4617-820D-A1FE17F86A4A}"/>
    <dgm:cxn modelId="{B9DBF935-B0D2-4AB3-989D-EDC0A6C31BBA}" type="presOf" srcId="{2F2F43C2-2AB6-4104-9881-C28442A1DBCF}" destId="{7C17F7B8-EB0F-4438-9B5F-C6AF959C98AD}" srcOrd="0" destOrd="3" presId="urn:microsoft.com/office/officeart/2005/8/layout/vList5"/>
    <dgm:cxn modelId="{CC102197-58BE-4795-A8F0-A7C2845AD51F}" type="presOf" srcId="{251B9E23-E011-4DBF-9C2F-F9F43DF4CF28}" destId="{A257B72E-F754-444C-B866-6FAF8336919B}" srcOrd="0" destOrd="0" presId="urn:microsoft.com/office/officeart/2005/8/layout/vList5"/>
    <dgm:cxn modelId="{A83DCCDB-8D65-4EEB-B424-772E0C40501C}" srcId="{B5D6904C-D49C-441C-8EF3-B2C5CA8CA324}" destId="{07D05C88-76D6-4FF8-9D06-E0F6DFE64715}" srcOrd="0" destOrd="0" parTransId="{96625500-A45A-43FB-BC6A-AB724EB6A77A}" sibTransId="{D654E585-11AE-4104-A363-46A23E49E846}"/>
    <dgm:cxn modelId="{28D940F5-5F3C-468A-9F47-0866766CEE50}" srcId="{CE350EE0-9270-41A4-90E7-2809F2C20CAE}" destId="{1968B98D-1F79-48F4-843D-EEAAFBF24535}" srcOrd="0" destOrd="0" parTransId="{354286C7-8DAE-4CF9-8EA1-0109AF50410C}" sibTransId="{73602525-EFF2-4CC8-B065-7437096A11A5}"/>
    <dgm:cxn modelId="{9B11BEAD-BE01-448C-A3DF-8C510FD84DEC}" type="presOf" srcId="{973E6E7E-EA01-4282-8A35-A28F041D1B4C}" destId="{448F2A67-E6E2-41D3-BBA0-9D50EB592CFC}" srcOrd="0" destOrd="1" presId="urn:microsoft.com/office/officeart/2005/8/layout/vList5"/>
    <dgm:cxn modelId="{8A510F8E-2FB4-4FC7-9D82-0D998C4BE42D}" srcId="{B5D6904C-D49C-441C-8EF3-B2C5CA8CA324}" destId="{973E6E7E-EA01-4282-8A35-A28F041D1B4C}" srcOrd="1" destOrd="0" parTransId="{FF3B188C-1936-455F-94FB-C48B6C0EB124}" sibTransId="{E035FA9F-6496-47CF-9EE7-625EF6E231CA}"/>
    <dgm:cxn modelId="{6FCEEC0A-BF54-47D9-9B8D-3456D5F90F07}" srcId="{CE350EE0-9270-41A4-90E7-2809F2C20CAE}" destId="{51B82884-660E-4227-8BA3-645B80AFC0EE}" srcOrd="2" destOrd="0" parTransId="{60DD0A23-826D-4F6B-BA86-AA0F901DE3D0}" sibTransId="{D166F56C-3123-4EF7-BFB8-BB165474D568}"/>
    <dgm:cxn modelId="{5314845C-E05B-41B2-B8B1-B96962A5748A}" srcId="{CE350EE0-9270-41A4-90E7-2809F2C20CAE}" destId="{01B7AF1F-76D9-444C-A3C4-D34A87C7C385}" srcOrd="1" destOrd="0" parTransId="{557EAD3B-2053-40CE-9367-308EA22DFF7B}" sibTransId="{6DB60F5A-19EC-4CF4-A1DC-23C908C6AF10}"/>
    <dgm:cxn modelId="{7FBECA8E-9CEE-4832-92E8-AAFD75F3E4BA}" type="presOf" srcId="{E1CB491F-5046-43FD-8F97-D9D4375E7DB9}" destId="{EE9E695F-4BC6-419D-BDAC-FC9F0A0DDD23}" srcOrd="0" destOrd="1" presId="urn:microsoft.com/office/officeart/2005/8/layout/vList5"/>
    <dgm:cxn modelId="{79F02A4F-F442-4222-ABE9-A86971596D1B}" type="presOf" srcId="{C88559B0-CAB1-44BF-93B1-238B1F158C50}" destId="{A2A62A9B-AB8B-4EC7-AEB2-270716C007B5}" srcOrd="0" destOrd="0" presId="urn:microsoft.com/office/officeart/2005/8/layout/vList5"/>
    <dgm:cxn modelId="{B290E587-3C0B-4013-A8A5-63F15B065740}" srcId="{CE350EE0-9270-41A4-90E7-2809F2C20CAE}" destId="{2F2F43C2-2AB6-4104-9881-C28442A1DBCF}" srcOrd="3" destOrd="0" parTransId="{F7BF79B8-464D-4ACD-AA18-B6B719E4E5C9}" sibTransId="{109C9B38-11BF-42F4-847C-03233D347413}"/>
    <dgm:cxn modelId="{4DC94C7D-DEBB-49E4-B10C-0B2A30F8CA4A}" srcId="{C88559B0-CAB1-44BF-93B1-238B1F158C50}" destId="{B5D6904C-D49C-441C-8EF3-B2C5CA8CA324}" srcOrd="0" destOrd="0" parTransId="{7D7809BE-EDA2-4AEE-85AC-5BD9A27AF7FC}" sibTransId="{9D121A9E-814F-41D0-B66B-C76165422DCA}"/>
    <dgm:cxn modelId="{EC56EC8F-9982-4900-AA75-8E67097E3CD7}" type="presOf" srcId="{07D05C88-76D6-4FF8-9D06-E0F6DFE64715}" destId="{448F2A67-E6E2-41D3-BBA0-9D50EB592CFC}" srcOrd="0" destOrd="0" presId="urn:microsoft.com/office/officeart/2005/8/layout/vList5"/>
    <dgm:cxn modelId="{4FC05C0F-6581-4A6C-B823-FE40BA07CA1B}" type="presOf" srcId="{1968B98D-1F79-48F4-843D-EEAAFBF24535}" destId="{7C17F7B8-EB0F-4438-9B5F-C6AF959C98AD}" srcOrd="0" destOrd="0" presId="urn:microsoft.com/office/officeart/2005/8/layout/vList5"/>
    <dgm:cxn modelId="{0C725A33-13F5-4F07-B24F-DAAEAC6E624B}" srcId="{251B9E23-E011-4DBF-9C2F-F9F43DF4CF28}" destId="{E1CB491F-5046-43FD-8F97-D9D4375E7DB9}" srcOrd="1" destOrd="0" parTransId="{8954813B-8F36-45E7-9D90-DB4F3CB234E3}" sibTransId="{1651D35A-63EA-4A86-93ED-A2FB2B93AE8F}"/>
    <dgm:cxn modelId="{934C52FA-0B99-44AF-A82D-8760F4C87778}" type="presParOf" srcId="{A2A62A9B-AB8B-4EC7-AEB2-270716C007B5}" destId="{4485F3D3-D9BB-4157-8EAD-C1CB6247D9CA}" srcOrd="0" destOrd="0" presId="urn:microsoft.com/office/officeart/2005/8/layout/vList5"/>
    <dgm:cxn modelId="{1C3D2BA5-66B0-4E16-B16A-E231FAF66FF3}" type="presParOf" srcId="{4485F3D3-D9BB-4157-8EAD-C1CB6247D9CA}" destId="{E11601EB-F660-440A-AEEA-AF4CFEF139C5}" srcOrd="0" destOrd="0" presId="urn:microsoft.com/office/officeart/2005/8/layout/vList5"/>
    <dgm:cxn modelId="{5156FC1B-ECAD-4551-BFE4-85840AB3DFED}" type="presParOf" srcId="{4485F3D3-D9BB-4157-8EAD-C1CB6247D9CA}" destId="{448F2A67-E6E2-41D3-BBA0-9D50EB592CFC}" srcOrd="1" destOrd="0" presId="urn:microsoft.com/office/officeart/2005/8/layout/vList5"/>
    <dgm:cxn modelId="{A6EDB4E5-BCBB-4800-A31E-054DC1BE7C27}" type="presParOf" srcId="{A2A62A9B-AB8B-4EC7-AEB2-270716C007B5}" destId="{EED2FB6E-51C3-4C14-BE07-2781C781930D}" srcOrd="1" destOrd="0" presId="urn:microsoft.com/office/officeart/2005/8/layout/vList5"/>
    <dgm:cxn modelId="{4FA4E319-4FA4-489E-8D68-E3679F3567E2}" type="presParOf" srcId="{A2A62A9B-AB8B-4EC7-AEB2-270716C007B5}" destId="{FDF9A460-C2CA-48E3-B8E3-121E0CBE6AB7}" srcOrd="2" destOrd="0" presId="urn:microsoft.com/office/officeart/2005/8/layout/vList5"/>
    <dgm:cxn modelId="{AB70B5EB-2FFC-4038-9213-12780C3A44EE}" type="presParOf" srcId="{FDF9A460-C2CA-48E3-B8E3-121E0CBE6AB7}" destId="{A257B72E-F754-444C-B866-6FAF8336919B}" srcOrd="0" destOrd="0" presId="urn:microsoft.com/office/officeart/2005/8/layout/vList5"/>
    <dgm:cxn modelId="{C76432DA-96A5-4D58-B32F-DC1830F56E2F}" type="presParOf" srcId="{FDF9A460-C2CA-48E3-B8E3-121E0CBE6AB7}" destId="{EE9E695F-4BC6-419D-BDAC-FC9F0A0DDD23}" srcOrd="1" destOrd="0" presId="urn:microsoft.com/office/officeart/2005/8/layout/vList5"/>
    <dgm:cxn modelId="{922E46B1-B3C7-44A5-ABCB-B09DF557FA36}" type="presParOf" srcId="{A2A62A9B-AB8B-4EC7-AEB2-270716C007B5}" destId="{D1583CDC-85FB-42A5-931D-3068F2C4E237}" srcOrd="3" destOrd="0" presId="urn:microsoft.com/office/officeart/2005/8/layout/vList5"/>
    <dgm:cxn modelId="{44CD4151-003D-48B4-A719-0CDAB7553363}" type="presParOf" srcId="{A2A62A9B-AB8B-4EC7-AEB2-270716C007B5}" destId="{87BEDE4D-9619-45FE-8D45-761BA3D28F9C}" srcOrd="4" destOrd="0" presId="urn:microsoft.com/office/officeart/2005/8/layout/vList5"/>
    <dgm:cxn modelId="{1B5BA28A-C177-4B1E-8AA9-B5C62623FD84}" type="presParOf" srcId="{87BEDE4D-9619-45FE-8D45-761BA3D28F9C}" destId="{6F9362EE-2ECA-4FA3-A6AD-C9543318F45F}" srcOrd="0" destOrd="0" presId="urn:microsoft.com/office/officeart/2005/8/layout/vList5"/>
    <dgm:cxn modelId="{D0020B1D-DEF2-42F4-851A-5C6ECCF9FC5E}" type="presParOf" srcId="{87BEDE4D-9619-45FE-8D45-761BA3D28F9C}" destId="{7C17F7B8-EB0F-4438-9B5F-C6AF959C98A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18A1C4B-DF77-4CBD-87AB-7B7BE4F1582E}" type="presOf" srcId="{9C869D94-BD20-4CF6-9CAA-58E706B950F6}" destId="{0AECE453-CE2A-473C-BD27-70D00DA5B95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5CDFDA96-A4B0-48B4-8A39-86DEE7F1642D}" type="presOf" srcId="{544A2B27-F62F-4504-85C1-82D7732CCB0A}" destId="{6B5B1B16-1D46-4D7F-892D-7D67FB436452}" srcOrd="0" destOrd="0" presId="urn:microsoft.com/office/officeart/2005/8/layout/chevron1"/>
    <dgm:cxn modelId="{748887C0-04D0-4FF3-8126-27152E9FAFA5}" type="presOf" srcId="{D14807FD-294C-4482-91EE-34C09B13669A}" destId="{BCE275B7-D1E9-4183-BABE-507E54E1C931}" srcOrd="0" destOrd="0" presId="urn:microsoft.com/office/officeart/2005/8/layout/chevron1"/>
    <dgm:cxn modelId="{D96C3BB1-6C92-4672-BF38-C5CE47830F44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E018AA4-AC05-4701-8064-E0DA5F574386}" type="presOf" srcId="{F351D095-D2C1-4F62-A18D-EFB4BA6E2AA9}" destId="{6BF66C9A-92D4-481D-A538-FD1A4E3DC0D5}" srcOrd="0" destOrd="0" presId="urn:microsoft.com/office/officeart/2005/8/layout/chevron1"/>
    <dgm:cxn modelId="{84E9FE2F-EAB8-4F1E-9189-63EA2AC18E83}" type="presParOf" srcId="{0AECE453-CE2A-473C-BD27-70D00DA5B95C}" destId="{135DB1F4-89C2-4733-9521-42FD5CECF10C}" srcOrd="0" destOrd="0" presId="urn:microsoft.com/office/officeart/2005/8/layout/chevron1"/>
    <dgm:cxn modelId="{8B9993F4-47DD-48F4-AFBE-0B8310066E6B}" type="presParOf" srcId="{0AECE453-CE2A-473C-BD27-70D00DA5B95C}" destId="{E1C76734-9ABE-473C-AD4C-C4BF49F91E97}" srcOrd="1" destOrd="0" presId="urn:microsoft.com/office/officeart/2005/8/layout/chevron1"/>
    <dgm:cxn modelId="{8C837B3F-3147-44CA-B067-2C4276946852}" type="presParOf" srcId="{0AECE453-CE2A-473C-BD27-70D00DA5B95C}" destId="{6BF66C9A-92D4-481D-A538-FD1A4E3DC0D5}" srcOrd="2" destOrd="0" presId="urn:microsoft.com/office/officeart/2005/8/layout/chevron1"/>
    <dgm:cxn modelId="{564E3C5F-1ECE-4015-9F43-70CCF0F80E94}" type="presParOf" srcId="{0AECE453-CE2A-473C-BD27-70D00DA5B95C}" destId="{691CB221-7DD5-49BE-AC21-301798066F30}" srcOrd="3" destOrd="0" presId="urn:microsoft.com/office/officeart/2005/8/layout/chevron1"/>
    <dgm:cxn modelId="{FAEDF910-672D-41B1-B506-4E178B78FE75}" type="presParOf" srcId="{0AECE453-CE2A-473C-BD27-70D00DA5B95C}" destId="{6B5B1B16-1D46-4D7F-892D-7D67FB436452}" srcOrd="4" destOrd="0" presId="urn:microsoft.com/office/officeart/2005/8/layout/chevron1"/>
    <dgm:cxn modelId="{4416BAF1-3051-4487-A32E-60D865F1B54B}" type="presParOf" srcId="{0AECE453-CE2A-473C-BD27-70D00DA5B95C}" destId="{E20E6850-4B52-4A6E-A4B6-B5AE207EA15E}" srcOrd="5" destOrd="0" presId="urn:microsoft.com/office/officeart/2005/8/layout/chevron1"/>
    <dgm:cxn modelId="{E34D0D08-AD88-4C07-91E9-A3602145248B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B3FBD9A1-9E96-4B05-ADA4-D676C242164F}" type="doc">
      <dgm:prSet loTypeId="urn:microsoft.com/office/officeart/2005/8/layout/vList2" loCatId="list" qsTypeId="urn:microsoft.com/office/officeart/2005/8/quickstyle/simple2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95A4E54D-3F39-4278-81F6-EA35748A6217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Informations</a:t>
          </a:r>
          <a:endParaRPr lang="de-DE" sz="2000" dirty="0">
            <a:solidFill>
              <a:schemeClr val="bg1"/>
            </a:solidFill>
          </a:endParaRPr>
        </a:p>
      </dgm:t>
    </dgm:pt>
    <dgm:pt modelId="{4F763715-5F34-4661-BC64-A8350FC3B55C}" type="parTrans" cxnId="{06262C94-D39C-428F-8ACB-CC1B3F120CA6}">
      <dgm:prSet/>
      <dgm:spPr/>
      <dgm:t>
        <a:bodyPr/>
        <a:lstStyle/>
        <a:p>
          <a:endParaRPr lang="de-DE"/>
        </a:p>
      </dgm:t>
    </dgm:pt>
    <dgm:pt modelId="{6D84827F-B3EE-480F-B11B-A259A6C3A417}" type="sibTrans" cxnId="{06262C94-D39C-428F-8ACB-CC1B3F120CA6}">
      <dgm:prSet/>
      <dgm:spPr/>
      <dgm:t>
        <a:bodyPr/>
        <a:lstStyle/>
        <a:p>
          <a:endParaRPr lang="de-DE"/>
        </a:p>
      </dgm:t>
    </dgm:pt>
    <dgm:pt modelId="{2184AAD6-9A2C-4FB3-9A61-3BE58C847A4B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"/>
            </a:rPr>
            <a:t>https://dzone.com/refcardz/getting-started-openstack-most</a:t>
          </a:r>
          <a:r>
            <a:rPr lang="de-DE" sz="1400" dirty="0" smtClean="0"/>
            <a:t> </a:t>
          </a:r>
          <a:endParaRPr lang="de-DE" sz="1400" dirty="0"/>
        </a:p>
      </dgm:t>
    </dgm:pt>
    <dgm:pt modelId="{24B454B5-1875-49DE-9F08-2210C4C1D9AF}" type="parTrans" cxnId="{1E996444-E1E3-4E98-B783-85DD22124600}">
      <dgm:prSet/>
      <dgm:spPr/>
      <dgm:t>
        <a:bodyPr/>
        <a:lstStyle/>
        <a:p>
          <a:endParaRPr lang="de-DE"/>
        </a:p>
      </dgm:t>
    </dgm:pt>
    <dgm:pt modelId="{4DB6EC1E-A778-4A17-9976-56B05301B08E}" type="sibTrans" cxnId="{1E996444-E1E3-4E98-B783-85DD22124600}">
      <dgm:prSet/>
      <dgm:spPr/>
      <dgm:t>
        <a:bodyPr/>
        <a:lstStyle/>
        <a:p>
          <a:endParaRPr lang="de-DE"/>
        </a:p>
      </dgm:t>
    </dgm:pt>
    <dgm:pt modelId="{26BE7C14-7621-4829-8FDB-F54722BBB351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ictures</a:t>
          </a:r>
          <a:endParaRPr lang="de-DE" sz="2800" dirty="0">
            <a:solidFill>
              <a:schemeClr val="bg1"/>
            </a:solidFill>
          </a:endParaRPr>
        </a:p>
      </dgm:t>
    </dgm:pt>
    <dgm:pt modelId="{5F905949-92EF-4C24-A9C8-4AADD52A2728}" type="parTrans" cxnId="{18B84BA8-9D54-4F47-A27C-B4EF786AB68D}">
      <dgm:prSet/>
      <dgm:spPr/>
      <dgm:t>
        <a:bodyPr/>
        <a:lstStyle/>
        <a:p>
          <a:endParaRPr lang="de-DE"/>
        </a:p>
      </dgm:t>
    </dgm:pt>
    <dgm:pt modelId="{F1698962-4368-43D2-9A33-BF10BE48AFC8}" type="sibTrans" cxnId="{18B84BA8-9D54-4F47-A27C-B4EF786AB68D}">
      <dgm:prSet/>
      <dgm:spPr/>
      <dgm:t>
        <a:bodyPr/>
        <a:lstStyle/>
        <a:p>
          <a:endParaRPr lang="de-DE"/>
        </a:p>
      </dgm:t>
    </dgm:pt>
    <dgm:pt modelId="{AD0FE73B-DA94-4EDB-88FB-A46F26CA74E2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2"/>
            </a:rPr>
            <a:t>http://www.ofekcloud.com/media/images/1e7b5ca3-8b2e-4e2e-9898-5df978f0218aimage14.jpeg</a:t>
          </a:r>
          <a:r>
            <a:rPr lang="de-DE" sz="1400" dirty="0" smtClean="0"/>
            <a:t> </a:t>
          </a:r>
          <a:r>
            <a:rPr lang="de-DE" sz="1200" dirty="0" smtClean="0"/>
            <a:t>( Slide #10 CC)</a:t>
          </a:r>
          <a:endParaRPr lang="de-DE" sz="1200" dirty="0"/>
        </a:p>
      </dgm:t>
    </dgm:pt>
    <dgm:pt modelId="{178D5A1A-B9AC-4F66-B0C9-29EA7E4472D7}" type="parTrans" cxnId="{F285BDBD-6E6F-4155-9FEA-82FFD8B10A45}">
      <dgm:prSet/>
      <dgm:spPr/>
      <dgm:t>
        <a:bodyPr/>
        <a:lstStyle/>
        <a:p>
          <a:endParaRPr lang="de-DE"/>
        </a:p>
      </dgm:t>
    </dgm:pt>
    <dgm:pt modelId="{4B9CB043-5036-4E69-A175-5C79465D3593}" type="sibTrans" cxnId="{F285BDBD-6E6F-4155-9FEA-82FFD8B10A45}">
      <dgm:prSet/>
      <dgm:spPr/>
      <dgm:t>
        <a:bodyPr/>
        <a:lstStyle/>
        <a:p>
          <a:endParaRPr lang="de-DE"/>
        </a:p>
      </dgm:t>
    </dgm:pt>
    <dgm:pt modelId="{F3E685CF-9490-4511-B061-9C350F7E8C63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3"/>
            </a:rPr>
            <a:t>http://www.all-stars.de/blog/wp-content/uploads/2014/04/planung.jpg</a:t>
          </a:r>
          <a:r>
            <a:rPr lang="de-DE" sz="1400" dirty="0" smtClean="0"/>
            <a:t> </a:t>
          </a:r>
          <a:r>
            <a:rPr lang="de-DE" sz="1200" dirty="0" smtClean="0"/>
            <a:t>(Slide #10 Planning)</a:t>
          </a:r>
          <a:endParaRPr lang="de-DE" sz="1200" dirty="0"/>
        </a:p>
      </dgm:t>
    </dgm:pt>
    <dgm:pt modelId="{33298F72-C92D-41B7-853A-94FD87E9A124}" type="parTrans" cxnId="{16323209-4E61-4054-93CB-24DD37508197}">
      <dgm:prSet/>
      <dgm:spPr/>
      <dgm:t>
        <a:bodyPr/>
        <a:lstStyle/>
        <a:p>
          <a:endParaRPr lang="de-DE"/>
        </a:p>
      </dgm:t>
    </dgm:pt>
    <dgm:pt modelId="{4CBF7E65-7C7D-479E-A620-387C7642F12D}" type="sibTrans" cxnId="{16323209-4E61-4054-93CB-24DD37508197}">
      <dgm:prSet/>
      <dgm:spPr/>
      <dgm:t>
        <a:bodyPr/>
        <a:lstStyle/>
        <a:p>
          <a:endParaRPr lang="de-DE"/>
        </a:p>
      </dgm:t>
    </dgm:pt>
    <dgm:pt modelId="{B637715B-D72B-4C51-9342-B785C3306E9C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4"/>
            </a:rPr>
            <a:t>http://www.maclife.de/ratgeber/microsoft-office-ios-jetzt-icloud-unterstuetzung-10062588.html</a:t>
          </a:r>
          <a:r>
            <a:rPr lang="de-DE" sz="1400" dirty="0" smtClean="0"/>
            <a:t> </a:t>
          </a:r>
          <a:r>
            <a:rPr lang="de-DE" sz="1200" dirty="0" smtClean="0"/>
            <a:t>(Slide #10 Office Tools)</a:t>
          </a:r>
          <a:endParaRPr lang="de-DE" sz="1200" dirty="0"/>
        </a:p>
      </dgm:t>
    </dgm:pt>
    <dgm:pt modelId="{459F658B-276C-4085-A8EE-F86DE40E208C}" type="parTrans" cxnId="{C0631AF4-DE6A-4DAD-A72A-2A8839D3686B}">
      <dgm:prSet/>
      <dgm:spPr/>
      <dgm:t>
        <a:bodyPr/>
        <a:lstStyle/>
        <a:p>
          <a:endParaRPr lang="de-DE"/>
        </a:p>
      </dgm:t>
    </dgm:pt>
    <dgm:pt modelId="{128C1576-FD2C-4C69-8090-1C1E12FFDECA}" type="sibTrans" cxnId="{C0631AF4-DE6A-4DAD-A72A-2A8839D3686B}">
      <dgm:prSet/>
      <dgm:spPr/>
      <dgm:t>
        <a:bodyPr/>
        <a:lstStyle/>
        <a:p>
          <a:endParaRPr lang="de-DE"/>
        </a:p>
      </dgm:t>
    </dgm:pt>
    <dgm:pt modelId="{AC9F85D0-23ED-4CB3-8DE8-BF77519DDDF3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5"/>
            </a:rPr>
            <a:t>http://yourdost.com/blog/2016/02/how-to-become-more-creative.html</a:t>
          </a:r>
          <a:r>
            <a:rPr lang="de-DE" sz="1400" dirty="0" smtClean="0"/>
            <a:t> </a:t>
          </a:r>
          <a:r>
            <a:rPr lang="de-DE" sz="1200" dirty="0" smtClean="0"/>
            <a:t>(Slide #10 Creative)</a:t>
          </a:r>
          <a:endParaRPr lang="de-DE" sz="1200" dirty="0"/>
        </a:p>
      </dgm:t>
    </dgm:pt>
    <dgm:pt modelId="{191FBFE0-9F3C-423E-92D4-0C25E68B60EA}" type="parTrans" cxnId="{AD8E0212-5018-4F4D-BBC4-B61FCF34D9B4}">
      <dgm:prSet/>
      <dgm:spPr/>
      <dgm:t>
        <a:bodyPr/>
        <a:lstStyle/>
        <a:p>
          <a:endParaRPr lang="de-DE"/>
        </a:p>
      </dgm:t>
    </dgm:pt>
    <dgm:pt modelId="{A7827B90-875B-4258-9276-C2D591B8D9F7}" type="sibTrans" cxnId="{AD8E0212-5018-4F4D-BBC4-B61FCF34D9B4}">
      <dgm:prSet/>
      <dgm:spPr/>
      <dgm:t>
        <a:bodyPr/>
        <a:lstStyle/>
        <a:p>
          <a:endParaRPr lang="de-DE"/>
        </a:p>
      </dgm:t>
    </dgm:pt>
    <dgm:pt modelId="{0B24C4BC-DF72-480E-8AB6-A33062368E30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6"/>
            </a:rPr>
            <a:t>http://www.embritas.lt/project/duomenu-apdorojimo-centras/?lang=de</a:t>
          </a:r>
          <a:r>
            <a:rPr lang="de-DE" sz="1400" dirty="0" smtClean="0"/>
            <a:t> </a:t>
          </a:r>
          <a:r>
            <a:rPr lang="de-DE" sz="1200" dirty="0" smtClean="0"/>
            <a:t>(Slide #14 Datacenter Biere)</a:t>
          </a:r>
          <a:endParaRPr lang="de-DE" sz="1200" dirty="0"/>
        </a:p>
      </dgm:t>
    </dgm:pt>
    <dgm:pt modelId="{DD360B71-6DAB-490D-B4ED-D8E5A7019C94}" type="parTrans" cxnId="{9DAEB52A-1612-4427-9BC6-80AC9034B783}">
      <dgm:prSet/>
      <dgm:spPr/>
      <dgm:t>
        <a:bodyPr/>
        <a:lstStyle/>
        <a:p>
          <a:endParaRPr lang="de-DE"/>
        </a:p>
      </dgm:t>
    </dgm:pt>
    <dgm:pt modelId="{9F80740D-813B-4BC7-B009-0F2196BEC139}" type="sibTrans" cxnId="{9DAEB52A-1612-4427-9BC6-80AC9034B783}">
      <dgm:prSet/>
      <dgm:spPr/>
      <dgm:t>
        <a:bodyPr/>
        <a:lstStyle/>
        <a:p>
          <a:endParaRPr lang="de-DE"/>
        </a:p>
      </dgm:t>
    </dgm:pt>
    <dgm:pt modelId="{C34FF5A3-0623-4FBA-9C19-83FF46932954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7"/>
            </a:rPr>
            <a:t>https://www.openstack.org/brand/openstack-logo/logo-download/</a:t>
          </a:r>
          <a:r>
            <a:rPr lang="de-DE" sz="1400" dirty="0" smtClean="0"/>
            <a:t> </a:t>
          </a:r>
          <a:r>
            <a:rPr lang="de-DE" sz="1200" dirty="0" smtClean="0"/>
            <a:t>(Slide #10,#1 OpenStack Logo)</a:t>
          </a:r>
          <a:endParaRPr lang="de-DE" sz="1200" dirty="0"/>
        </a:p>
      </dgm:t>
    </dgm:pt>
    <dgm:pt modelId="{FA9F51E1-E9BF-444F-A668-EAC439FE3E78}" type="parTrans" cxnId="{305D5B95-666A-49C6-948D-19180F572130}">
      <dgm:prSet/>
      <dgm:spPr/>
      <dgm:t>
        <a:bodyPr/>
        <a:lstStyle/>
        <a:p>
          <a:endParaRPr lang="de-DE"/>
        </a:p>
      </dgm:t>
    </dgm:pt>
    <dgm:pt modelId="{5B43BC6A-DF01-4FDE-BABD-1F03D1D66CF3}" type="sibTrans" cxnId="{305D5B95-666A-49C6-948D-19180F572130}">
      <dgm:prSet/>
      <dgm:spPr/>
      <dgm:t>
        <a:bodyPr/>
        <a:lstStyle/>
        <a:p>
          <a:endParaRPr lang="de-DE"/>
        </a:p>
      </dgm:t>
    </dgm:pt>
    <dgm:pt modelId="{CABD98BA-5FB0-41C7-839D-4F9AA193A479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8"/>
            </a:rPr>
            <a:t>https://cloud.telekom.de/</a:t>
          </a:r>
          <a:r>
            <a:rPr lang="de-DE" sz="1400" dirty="0" smtClean="0"/>
            <a:t> </a:t>
          </a:r>
          <a:r>
            <a:rPr lang="de-DE" sz="1200" dirty="0" smtClean="0"/>
            <a:t>(Slide #14 TelekomCLOUD)</a:t>
          </a:r>
          <a:endParaRPr lang="de-DE" sz="1200" dirty="0"/>
        </a:p>
      </dgm:t>
    </dgm:pt>
    <dgm:pt modelId="{AFC531B3-61FD-466C-8689-1F17E9D8337A}" type="parTrans" cxnId="{41E2005D-D3B1-42D3-AF72-10EF80C2C2F9}">
      <dgm:prSet/>
      <dgm:spPr/>
      <dgm:t>
        <a:bodyPr/>
        <a:lstStyle/>
        <a:p>
          <a:endParaRPr lang="de-DE"/>
        </a:p>
      </dgm:t>
    </dgm:pt>
    <dgm:pt modelId="{AAABDB8A-FBC6-4C26-B225-B3962A602AF9}" type="sibTrans" cxnId="{41E2005D-D3B1-42D3-AF72-10EF80C2C2F9}">
      <dgm:prSet/>
      <dgm:spPr/>
      <dgm:t>
        <a:bodyPr/>
        <a:lstStyle/>
        <a:p>
          <a:endParaRPr lang="de-DE"/>
        </a:p>
      </dgm:t>
    </dgm:pt>
    <dgm:pt modelId="{EA60EFBF-FCBE-447C-BCBC-E04AB5A04182}">
      <dgm:prSet phldrT="[Text]" custT="1"/>
      <dgm:spPr/>
      <dgm:t>
        <a:bodyPr/>
        <a:lstStyle/>
        <a:p>
          <a:r>
            <a:rPr lang="de-DE" sz="1400" dirty="0" smtClean="0"/>
            <a:t> </a:t>
          </a:r>
          <a:r>
            <a:rPr lang="de-DE" sz="1400" dirty="0" smtClean="0">
              <a:hlinkClick xmlns:r="http://schemas.openxmlformats.org/officeDocument/2006/relationships" r:id="rId9"/>
            </a:rPr>
            <a:t>http://cloud-computing-blog.eu/was-ist-jetzt-eigentlich-cloud-computing/</a:t>
          </a:r>
          <a:r>
            <a:rPr lang="de-DE" sz="1400" dirty="0" smtClean="0"/>
            <a:t> </a:t>
          </a:r>
          <a:endParaRPr lang="de-DE" sz="1400" dirty="0"/>
        </a:p>
      </dgm:t>
    </dgm:pt>
    <dgm:pt modelId="{A54EF8D3-42EA-4BEB-BB97-F0E4CB87C3D6}" type="parTrans" cxnId="{AAB258C1-7359-4840-846B-CA8B0205C17B}">
      <dgm:prSet/>
      <dgm:spPr/>
      <dgm:t>
        <a:bodyPr/>
        <a:lstStyle/>
        <a:p>
          <a:endParaRPr lang="de-DE"/>
        </a:p>
      </dgm:t>
    </dgm:pt>
    <dgm:pt modelId="{FA9C2AD3-6F9C-4DDC-98E2-4B5ED7C85FA6}" type="sibTrans" cxnId="{AAB258C1-7359-4840-846B-CA8B0205C17B}">
      <dgm:prSet/>
      <dgm:spPr/>
      <dgm:t>
        <a:bodyPr/>
        <a:lstStyle/>
        <a:p>
          <a:endParaRPr lang="de-DE"/>
        </a:p>
      </dgm:t>
    </dgm:pt>
    <dgm:pt modelId="{66A47BEE-44D0-440B-B85C-198E7A95CF52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0"/>
            </a:rPr>
            <a:t>https://www.openstack.org/</a:t>
          </a:r>
          <a:r>
            <a:rPr lang="de-DE" sz="1400" dirty="0" smtClean="0"/>
            <a:t> </a:t>
          </a:r>
          <a:endParaRPr lang="de-DE" sz="1400" dirty="0"/>
        </a:p>
      </dgm:t>
    </dgm:pt>
    <dgm:pt modelId="{EDA9556E-EEF3-4B7F-B6AE-F66FD3B23CBC}" type="parTrans" cxnId="{A5DCB8E6-7357-49BD-A36C-36E434CE89C7}">
      <dgm:prSet/>
      <dgm:spPr/>
      <dgm:t>
        <a:bodyPr/>
        <a:lstStyle/>
        <a:p>
          <a:endParaRPr lang="de-DE"/>
        </a:p>
      </dgm:t>
    </dgm:pt>
    <dgm:pt modelId="{69770DE9-171F-4538-A067-95741B85D405}" type="sibTrans" cxnId="{A5DCB8E6-7357-49BD-A36C-36E434CE89C7}">
      <dgm:prSet/>
      <dgm:spPr/>
      <dgm:t>
        <a:bodyPr/>
        <a:lstStyle/>
        <a:p>
          <a:endParaRPr lang="de-DE"/>
        </a:p>
      </dgm:t>
    </dgm:pt>
    <dgm:pt modelId="{AB8AB2FA-0C03-4ADB-828B-3AA5DB7D1B83}">
      <dgm:prSet phldrT="[Text]" custT="1"/>
      <dgm:spPr/>
      <dgm:t>
        <a:bodyPr/>
        <a:lstStyle/>
        <a:p>
          <a:r>
            <a:rPr lang="de-DE" sz="1400" b="1" u="sng" dirty="0" smtClean="0"/>
            <a:t>Other Sources : </a:t>
          </a:r>
          <a:r>
            <a:rPr lang="de-DE" sz="1400" dirty="0" smtClean="0"/>
            <a:t>AiolosSystemDescription.pdf; Telekom Small Business Cloud_Refcard for ISVs.pdf   </a:t>
          </a:r>
          <a:endParaRPr lang="de-DE" sz="1400" dirty="0"/>
        </a:p>
      </dgm:t>
    </dgm:pt>
    <dgm:pt modelId="{42C4DCB7-BA3B-4965-A688-630680FB111B}" type="parTrans" cxnId="{D17BBCAA-6B20-4F7B-9BF7-2C1BAA2C86F1}">
      <dgm:prSet/>
      <dgm:spPr/>
      <dgm:t>
        <a:bodyPr/>
        <a:lstStyle/>
        <a:p>
          <a:endParaRPr lang="de-DE"/>
        </a:p>
      </dgm:t>
    </dgm:pt>
    <dgm:pt modelId="{511FBC25-1C28-4543-9F02-FC6C38042313}" type="sibTrans" cxnId="{D17BBCAA-6B20-4F7B-9BF7-2C1BAA2C86F1}">
      <dgm:prSet/>
      <dgm:spPr/>
      <dgm:t>
        <a:bodyPr/>
        <a:lstStyle/>
        <a:p>
          <a:endParaRPr lang="de-DE"/>
        </a:p>
      </dgm:t>
    </dgm:pt>
    <dgm:pt modelId="{F331CA08-40E2-4C12-84C8-9AE7EC8B6DD6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1"/>
            </a:rPr>
            <a:t>https://gitlab.com/uploads/project/avatar/250833/runner_logo.png</a:t>
          </a:r>
          <a:r>
            <a:rPr lang="de-DE" sz="1400" dirty="0" smtClean="0"/>
            <a:t> </a:t>
          </a:r>
          <a:r>
            <a:rPr lang="de-DE" sz="1200" dirty="0" smtClean="0"/>
            <a:t>(Slide #17 Git Runner Logo)</a:t>
          </a:r>
          <a:endParaRPr lang="de-DE" sz="1200" dirty="0"/>
        </a:p>
      </dgm:t>
    </dgm:pt>
    <dgm:pt modelId="{92A4AD82-5893-4EE0-ABEE-F99E12DCB433}" type="parTrans" cxnId="{66D69582-68CF-49E6-9FDE-F31AF44ACCB1}">
      <dgm:prSet/>
      <dgm:spPr/>
      <dgm:t>
        <a:bodyPr/>
        <a:lstStyle/>
        <a:p>
          <a:endParaRPr lang="de-DE"/>
        </a:p>
      </dgm:t>
    </dgm:pt>
    <dgm:pt modelId="{86C31584-3DA7-4BBB-822A-B310A423FB28}" type="sibTrans" cxnId="{66D69582-68CF-49E6-9FDE-F31AF44ACCB1}">
      <dgm:prSet/>
      <dgm:spPr/>
      <dgm:t>
        <a:bodyPr/>
        <a:lstStyle/>
        <a:p>
          <a:endParaRPr lang="de-DE"/>
        </a:p>
      </dgm:t>
    </dgm:pt>
    <dgm:pt modelId="{ED1E8FE5-B3CC-4746-A612-439F0E282D58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2"/>
            </a:rPr>
            <a:t>http://www.autotestingtools.com/devops</a:t>
          </a:r>
          <a:r>
            <a:rPr lang="de-DE" sz="1400" dirty="0" smtClean="0"/>
            <a:t> </a:t>
          </a:r>
          <a:r>
            <a:rPr lang="de-DE" sz="1200" dirty="0" smtClean="0"/>
            <a:t>(Slide #17 Deploy Logo)</a:t>
          </a:r>
          <a:endParaRPr lang="de-DE" sz="1400" dirty="0"/>
        </a:p>
      </dgm:t>
    </dgm:pt>
    <dgm:pt modelId="{21D39813-6068-4A24-ABCC-FB15D666C27C}" type="parTrans" cxnId="{882662A4-AE22-4A7B-828D-94CBE8E96183}">
      <dgm:prSet/>
      <dgm:spPr/>
      <dgm:t>
        <a:bodyPr/>
        <a:lstStyle/>
        <a:p>
          <a:endParaRPr lang="de-DE"/>
        </a:p>
      </dgm:t>
    </dgm:pt>
    <dgm:pt modelId="{99D86B9B-6672-45FA-BBE8-4C33410258D3}" type="sibTrans" cxnId="{882662A4-AE22-4A7B-828D-94CBE8E96183}">
      <dgm:prSet/>
      <dgm:spPr/>
      <dgm:t>
        <a:bodyPr/>
        <a:lstStyle/>
        <a:p>
          <a:endParaRPr lang="de-DE"/>
        </a:p>
      </dgm:t>
    </dgm:pt>
    <dgm:pt modelId="{73F1E484-4E60-4DC2-9730-BF6E86925CD7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3"/>
            </a:rPr>
            <a:t>https://d30y9cdsu7xlg0.cloudfront.net/png/27703-200.png</a:t>
          </a:r>
          <a:r>
            <a:rPr lang="de-DE" sz="1400" dirty="0" smtClean="0"/>
            <a:t> </a:t>
          </a:r>
          <a:r>
            <a:rPr lang="de-DE" sz="1200" dirty="0" smtClean="0"/>
            <a:t>(Slide #17 Developer)</a:t>
          </a:r>
          <a:endParaRPr lang="de-DE" sz="1200" dirty="0"/>
        </a:p>
      </dgm:t>
    </dgm:pt>
    <dgm:pt modelId="{EB1E1E87-F21F-4F53-8F47-F59311033710}" type="parTrans" cxnId="{FAF12C1F-69B6-441D-8CB9-19D6CEB13058}">
      <dgm:prSet/>
      <dgm:spPr/>
      <dgm:t>
        <a:bodyPr/>
        <a:lstStyle/>
        <a:p>
          <a:endParaRPr lang="de-DE"/>
        </a:p>
      </dgm:t>
    </dgm:pt>
    <dgm:pt modelId="{FD1D2FE1-2C4D-46D4-9C1D-D1D1113608A1}" type="sibTrans" cxnId="{FAF12C1F-69B6-441D-8CB9-19D6CEB13058}">
      <dgm:prSet/>
      <dgm:spPr/>
      <dgm:t>
        <a:bodyPr/>
        <a:lstStyle/>
        <a:p>
          <a:endParaRPr lang="de-DE"/>
        </a:p>
      </dgm:t>
    </dgm:pt>
    <dgm:pt modelId="{0F8544D6-B935-4371-BEC9-226BD76F45FF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4"/>
            </a:rPr>
            <a:t>https://gitlab.com/uploads/project/avatar/13083/gitlab-logo-square.png</a:t>
          </a:r>
          <a:r>
            <a:rPr lang="de-DE" sz="1400" dirty="0" smtClean="0"/>
            <a:t> </a:t>
          </a:r>
          <a:r>
            <a:rPr lang="de-DE" sz="1200" dirty="0" smtClean="0"/>
            <a:t>(Slide #17 GitLab Logo)</a:t>
          </a:r>
          <a:endParaRPr lang="de-DE" sz="1200" dirty="0"/>
        </a:p>
      </dgm:t>
    </dgm:pt>
    <dgm:pt modelId="{BF6D8480-AFCC-4AE2-A799-64459CAD80FC}" type="parTrans" cxnId="{BCCCC5CF-164E-4B9B-AD5D-7783753FAB69}">
      <dgm:prSet/>
      <dgm:spPr/>
      <dgm:t>
        <a:bodyPr/>
        <a:lstStyle/>
        <a:p>
          <a:endParaRPr lang="de-DE"/>
        </a:p>
      </dgm:t>
    </dgm:pt>
    <dgm:pt modelId="{2782EFAB-6AD6-47EE-A42A-F2344750832B}" type="sibTrans" cxnId="{BCCCC5CF-164E-4B9B-AD5D-7783753FAB69}">
      <dgm:prSet/>
      <dgm:spPr/>
      <dgm:t>
        <a:bodyPr/>
        <a:lstStyle/>
        <a:p>
          <a:endParaRPr lang="de-DE"/>
        </a:p>
      </dgm:t>
    </dgm:pt>
    <dgm:pt modelId="{F14462BD-F46E-4F75-B4C4-7601717293F9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5"/>
            </a:rPr>
            <a:t>http://copting.de/wp-content/uploads/kreuz-rot.png</a:t>
          </a:r>
          <a:r>
            <a:rPr lang="de-DE" sz="1400" dirty="0" smtClean="0"/>
            <a:t> </a:t>
          </a:r>
          <a:r>
            <a:rPr lang="de-DE" sz="1200" dirty="0" smtClean="0"/>
            <a:t>(Slide #17 cross)</a:t>
          </a:r>
          <a:endParaRPr lang="de-DE" sz="1200" dirty="0"/>
        </a:p>
      </dgm:t>
    </dgm:pt>
    <dgm:pt modelId="{A9EF8551-86B7-4EF6-B7B2-5D5A170EB83F}" type="parTrans" cxnId="{6C4A627B-023E-4540-ADA6-00555FE4741B}">
      <dgm:prSet/>
      <dgm:spPr/>
      <dgm:t>
        <a:bodyPr/>
        <a:lstStyle/>
        <a:p>
          <a:endParaRPr lang="de-DE"/>
        </a:p>
      </dgm:t>
    </dgm:pt>
    <dgm:pt modelId="{CF5F27EF-70F5-4F6C-BB99-E2483A361F76}" type="sibTrans" cxnId="{6C4A627B-023E-4540-ADA6-00555FE4741B}">
      <dgm:prSet/>
      <dgm:spPr/>
      <dgm:t>
        <a:bodyPr/>
        <a:lstStyle/>
        <a:p>
          <a:endParaRPr lang="de-DE"/>
        </a:p>
      </dgm:t>
    </dgm:pt>
    <dgm:pt modelId="{E831DD0C-0355-4E5C-AA7D-FE30835990EA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6"/>
            </a:rPr>
            <a:t>http://copting.de/wp-content/uploads/Haken-gr%C3%BCn-284x300.png</a:t>
          </a:r>
          <a:r>
            <a:rPr lang="de-DE" sz="1400" dirty="0" smtClean="0"/>
            <a:t> </a:t>
          </a:r>
          <a:r>
            <a:rPr lang="de-DE" sz="1200" dirty="0" smtClean="0"/>
            <a:t>(Slide #17 hook)</a:t>
          </a:r>
          <a:endParaRPr lang="de-DE" sz="1200" dirty="0"/>
        </a:p>
      </dgm:t>
    </dgm:pt>
    <dgm:pt modelId="{4860F01E-FD83-44A2-A63C-74AC08C2AFE2}" type="parTrans" cxnId="{5AB24BA8-7466-495D-9382-503E1ADC4D10}">
      <dgm:prSet/>
      <dgm:spPr/>
      <dgm:t>
        <a:bodyPr/>
        <a:lstStyle/>
        <a:p>
          <a:endParaRPr lang="de-DE"/>
        </a:p>
      </dgm:t>
    </dgm:pt>
    <dgm:pt modelId="{EB326B6E-3437-4703-95B8-E1FC7BD999BF}" type="sibTrans" cxnId="{5AB24BA8-7466-495D-9382-503E1ADC4D10}">
      <dgm:prSet/>
      <dgm:spPr/>
      <dgm:t>
        <a:bodyPr/>
        <a:lstStyle/>
        <a:p>
          <a:endParaRPr lang="de-DE"/>
        </a:p>
      </dgm:t>
    </dgm:pt>
    <dgm:pt modelId="{45ED6F3A-DA35-479A-954B-3B88A6823D5B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7"/>
            </a:rPr>
            <a:t>https://de.pinterest.com/pin/556053885218068326/</a:t>
          </a:r>
          <a:r>
            <a:rPr lang="de-DE" sz="1400" dirty="0" smtClean="0"/>
            <a:t> </a:t>
          </a:r>
          <a:r>
            <a:rPr lang="de-DE" sz="1200" dirty="0" smtClean="0"/>
            <a:t>(Slide #19 Background)</a:t>
          </a:r>
          <a:endParaRPr lang="de-DE" sz="1200" dirty="0"/>
        </a:p>
      </dgm:t>
    </dgm:pt>
    <dgm:pt modelId="{8BCC2C7B-9BDC-4B71-B515-C1E0F588A6E3}" type="parTrans" cxnId="{94F7B1E3-59A8-470D-8100-AE3B6B567204}">
      <dgm:prSet/>
      <dgm:spPr/>
      <dgm:t>
        <a:bodyPr/>
        <a:lstStyle/>
        <a:p>
          <a:endParaRPr lang="de-DE"/>
        </a:p>
      </dgm:t>
    </dgm:pt>
    <dgm:pt modelId="{2BA2969C-872A-417A-B3AB-66285E542535}" type="sibTrans" cxnId="{94F7B1E3-59A8-470D-8100-AE3B6B567204}">
      <dgm:prSet/>
      <dgm:spPr/>
      <dgm:t>
        <a:bodyPr/>
        <a:lstStyle/>
        <a:p>
          <a:endParaRPr lang="de-DE"/>
        </a:p>
      </dgm:t>
    </dgm:pt>
    <dgm:pt modelId="{D4BDAF16-5A50-4FD6-98AF-A2BF05ACEC86}" type="pres">
      <dgm:prSet presAssocID="{B3FBD9A1-9E96-4B05-ADA4-D676C242164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941B5F1E-BE5B-4512-8FFD-930037772452}" type="pres">
      <dgm:prSet presAssocID="{95A4E54D-3F39-4278-81F6-EA35748A6217}" presName="parentText" presStyleLbl="node1" presStyleIdx="0" presStyleCnt="2" custScaleY="45322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5D980B-F227-4000-9869-2D5A8FA31B13}" type="pres">
      <dgm:prSet presAssocID="{95A4E54D-3F39-4278-81F6-EA35748A6217}" presName="childText" presStyleLbl="revTx" presStyleIdx="0" presStyleCnt="2" custScaleY="133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03283A4-BBAE-49F6-A32A-13D1CE661B99}" type="pres">
      <dgm:prSet presAssocID="{26BE7C14-7621-4829-8FDB-F54722BBB351}" presName="parentText" presStyleLbl="node1" presStyleIdx="1" presStyleCnt="2" custScaleY="42168" custLinFactNeighborX="-792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F5A6700-E73A-4C76-AB30-5E258848545C}" type="pres">
      <dgm:prSet presAssocID="{26BE7C14-7621-4829-8FDB-F54722BBB351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56E2813-EACF-4854-BDCA-F94E0FC91974}" type="presOf" srcId="{AB8AB2FA-0C03-4ADB-828B-3AA5DB7D1B83}" destId="{135D980B-F227-4000-9869-2D5A8FA31B13}" srcOrd="0" destOrd="3" presId="urn:microsoft.com/office/officeart/2005/8/layout/vList2"/>
    <dgm:cxn modelId="{7B359796-8208-416B-87AB-3ED7681CE617}" type="presOf" srcId="{F14462BD-F46E-4F75-B4C4-7601717293F9}" destId="{BF5A6700-E73A-4C76-AB30-5E258848545C}" srcOrd="0" destOrd="11" presId="urn:microsoft.com/office/officeart/2005/8/layout/vList2"/>
    <dgm:cxn modelId="{C0631AF4-DE6A-4DAD-A72A-2A8839D3686B}" srcId="{26BE7C14-7621-4829-8FDB-F54722BBB351}" destId="{B637715B-D72B-4C51-9342-B785C3306E9C}" srcOrd="2" destOrd="0" parTransId="{459F658B-276C-4085-A8EE-F86DE40E208C}" sibTransId="{128C1576-FD2C-4C69-8090-1C1E12FFDECA}"/>
    <dgm:cxn modelId="{2C3ED88D-2B6B-4B86-B147-37B5D26B707B}" type="presOf" srcId="{95A4E54D-3F39-4278-81F6-EA35748A6217}" destId="{941B5F1E-BE5B-4512-8FFD-930037772452}" srcOrd="0" destOrd="0" presId="urn:microsoft.com/office/officeart/2005/8/layout/vList2"/>
    <dgm:cxn modelId="{66D69582-68CF-49E6-9FDE-F31AF44ACCB1}" srcId="{26BE7C14-7621-4829-8FDB-F54722BBB351}" destId="{F331CA08-40E2-4C12-84C8-9AE7EC8B6DD6}" srcOrd="7" destOrd="0" parTransId="{92A4AD82-5893-4EE0-ABEE-F99E12DCB433}" sibTransId="{86C31584-3DA7-4BBB-822A-B310A423FB28}"/>
    <dgm:cxn modelId="{6C4A627B-023E-4540-ADA6-00555FE4741B}" srcId="{26BE7C14-7621-4829-8FDB-F54722BBB351}" destId="{F14462BD-F46E-4F75-B4C4-7601717293F9}" srcOrd="11" destOrd="0" parTransId="{A9EF8551-86B7-4EF6-B7B2-5D5A170EB83F}" sibTransId="{CF5F27EF-70F5-4F6C-BB99-E2483A361F76}"/>
    <dgm:cxn modelId="{284EAF84-120C-49FF-A71E-493BCB5C85F7}" type="presOf" srcId="{C34FF5A3-0623-4FBA-9C19-83FF46932954}" destId="{BF5A6700-E73A-4C76-AB30-5E258848545C}" srcOrd="0" destOrd="5" presId="urn:microsoft.com/office/officeart/2005/8/layout/vList2"/>
    <dgm:cxn modelId="{63166064-2D97-4B3D-BCCB-3A105B7AD3E6}" type="presOf" srcId="{66A47BEE-44D0-440B-B85C-198E7A95CF52}" destId="{135D980B-F227-4000-9869-2D5A8FA31B13}" srcOrd="0" destOrd="0" presId="urn:microsoft.com/office/officeart/2005/8/layout/vList2"/>
    <dgm:cxn modelId="{1E996444-E1E3-4E98-B783-85DD22124600}" srcId="{95A4E54D-3F39-4278-81F6-EA35748A6217}" destId="{2184AAD6-9A2C-4FB3-9A61-3BE58C847A4B}" srcOrd="1" destOrd="0" parTransId="{24B454B5-1875-49DE-9F08-2210C4C1D9AF}" sibTransId="{4DB6EC1E-A778-4A17-9976-56B05301B08E}"/>
    <dgm:cxn modelId="{16323209-4E61-4054-93CB-24DD37508197}" srcId="{26BE7C14-7621-4829-8FDB-F54722BBB351}" destId="{F3E685CF-9490-4511-B061-9C350F7E8C63}" srcOrd="1" destOrd="0" parTransId="{33298F72-C92D-41B7-853A-94FD87E9A124}" sibTransId="{4CBF7E65-7C7D-479E-A620-387C7642F12D}"/>
    <dgm:cxn modelId="{28863114-B43B-4EC7-8C48-B65AC1AD64CE}" type="presOf" srcId="{45ED6F3A-DA35-479A-954B-3B88A6823D5B}" destId="{BF5A6700-E73A-4C76-AB30-5E258848545C}" srcOrd="0" destOrd="13" presId="urn:microsoft.com/office/officeart/2005/8/layout/vList2"/>
    <dgm:cxn modelId="{1B009B9C-6E8B-49E2-8A74-41E49658DBED}" type="presOf" srcId="{73F1E484-4E60-4DC2-9730-BF6E86925CD7}" destId="{BF5A6700-E73A-4C76-AB30-5E258848545C}" srcOrd="0" destOrd="9" presId="urn:microsoft.com/office/officeart/2005/8/layout/vList2"/>
    <dgm:cxn modelId="{94F7B1E3-59A8-470D-8100-AE3B6B567204}" srcId="{26BE7C14-7621-4829-8FDB-F54722BBB351}" destId="{45ED6F3A-DA35-479A-954B-3B88A6823D5B}" srcOrd="13" destOrd="0" parTransId="{8BCC2C7B-9BDC-4B71-B515-C1E0F588A6E3}" sibTransId="{2BA2969C-872A-417A-B3AB-66285E542535}"/>
    <dgm:cxn modelId="{B763D799-5818-4113-99C4-E68D247150F4}" type="presOf" srcId="{26BE7C14-7621-4829-8FDB-F54722BBB351}" destId="{003283A4-BBAE-49F6-A32A-13D1CE661B99}" srcOrd="0" destOrd="0" presId="urn:microsoft.com/office/officeart/2005/8/layout/vList2"/>
    <dgm:cxn modelId="{8CCC8B77-6ECA-45AB-910A-29C016B50E17}" type="presOf" srcId="{CABD98BA-5FB0-41C7-839D-4F9AA193A479}" destId="{BF5A6700-E73A-4C76-AB30-5E258848545C}" srcOrd="0" destOrd="6" presId="urn:microsoft.com/office/officeart/2005/8/layout/vList2"/>
    <dgm:cxn modelId="{0D117FFB-0137-4229-B51B-4335023EAC95}" type="presOf" srcId="{E831DD0C-0355-4E5C-AA7D-FE30835990EA}" destId="{BF5A6700-E73A-4C76-AB30-5E258848545C}" srcOrd="0" destOrd="12" presId="urn:microsoft.com/office/officeart/2005/8/layout/vList2"/>
    <dgm:cxn modelId="{882662A4-AE22-4A7B-828D-94CBE8E96183}" srcId="{26BE7C14-7621-4829-8FDB-F54722BBB351}" destId="{ED1E8FE5-B3CC-4746-A612-439F0E282D58}" srcOrd="8" destOrd="0" parTransId="{21D39813-6068-4A24-ABCC-FB15D666C27C}" sibTransId="{99D86B9B-6672-45FA-BBE8-4C33410258D3}"/>
    <dgm:cxn modelId="{AD8E0212-5018-4F4D-BBC4-B61FCF34D9B4}" srcId="{26BE7C14-7621-4829-8FDB-F54722BBB351}" destId="{AC9F85D0-23ED-4CB3-8DE8-BF77519DDDF3}" srcOrd="3" destOrd="0" parTransId="{191FBFE0-9F3C-423E-92D4-0C25E68B60EA}" sibTransId="{A7827B90-875B-4258-9276-C2D591B8D9F7}"/>
    <dgm:cxn modelId="{41E2005D-D3B1-42D3-AF72-10EF80C2C2F9}" srcId="{26BE7C14-7621-4829-8FDB-F54722BBB351}" destId="{CABD98BA-5FB0-41C7-839D-4F9AA193A479}" srcOrd="6" destOrd="0" parTransId="{AFC531B3-61FD-466C-8689-1F17E9D8337A}" sibTransId="{AAABDB8A-FBC6-4C26-B225-B3962A602AF9}"/>
    <dgm:cxn modelId="{305D5B95-666A-49C6-948D-19180F572130}" srcId="{26BE7C14-7621-4829-8FDB-F54722BBB351}" destId="{C34FF5A3-0623-4FBA-9C19-83FF46932954}" srcOrd="5" destOrd="0" parTransId="{FA9F51E1-E9BF-444F-A668-EAC439FE3E78}" sibTransId="{5B43BC6A-DF01-4FDE-BABD-1F03D1D66CF3}"/>
    <dgm:cxn modelId="{B8EA66F7-4995-4177-BFAD-0CA50E7BF74B}" type="presOf" srcId="{ED1E8FE5-B3CC-4746-A612-439F0E282D58}" destId="{BF5A6700-E73A-4C76-AB30-5E258848545C}" srcOrd="0" destOrd="8" presId="urn:microsoft.com/office/officeart/2005/8/layout/vList2"/>
    <dgm:cxn modelId="{0B619950-6E50-41F2-979F-D8FB60701F37}" type="presOf" srcId="{0F8544D6-B935-4371-BEC9-226BD76F45FF}" destId="{BF5A6700-E73A-4C76-AB30-5E258848545C}" srcOrd="0" destOrd="10" presId="urn:microsoft.com/office/officeart/2005/8/layout/vList2"/>
    <dgm:cxn modelId="{5AB24BA8-7466-495D-9382-503E1ADC4D10}" srcId="{26BE7C14-7621-4829-8FDB-F54722BBB351}" destId="{E831DD0C-0355-4E5C-AA7D-FE30835990EA}" srcOrd="12" destOrd="0" parTransId="{4860F01E-FD83-44A2-A63C-74AC08C2AFE2}" sibTransId="{EB326B6E-3437-4703-95B8-E1FC7BD999BF}"/>
    <dgm:cxn modelId="{C85D2BA3-B56B-4582-8D4E-9D8B204F9E59}" type="presOf" srcId="{AD0FE73B-DA94-4EDB-88FB-A46F26CA74E2}" destId="{BF5A6700-E73A-4C76-AB30-5E258848545C}" srcOrd="0" destOrd="0" presId="urn:microsoft.com/office/officeart/2005/8/layout/vList2"/>
    <dgm:cxn modelId="{D17BBCAA-6B20-4F7B-9BF7-2C1BAA2C86F1}" srcId="{95A4E54D-3F39-4278-81F6-EA35748A6217}" destId="{AB8AB2FA-0C03-4ADB-828B-3AA5DB7D1B83}" srcOrd="3" destOrd="0" parTransId="{42C4DCB7-BA3B-4965-A688-630680FB111B}" sibTransId="{511FBC25-1C28-4543-9F02-FC6C38042313}"/>
    <dgm:cxn modelId="{F285BDBD-6E6F-4155-9FEA-82FFD8B10A45}" srcId="{26BE7C14-7621-4829-8FDB-F54722BBB351}" destId="{AD0FE73B-DA94-4EDB-88FB-A46F26CA74E2}" srcOrd="0" destOrd="0" parTransId="{178D5A1A-B9AC-4F66-B0C9-29EA7E4472D7}" sibTransId="{4B9CB043-5036-4E69-A175-5C79465D3593}"/>
    <dgm:cxn modelId="{04D6759C-61AE-4D3A-A0A9-876459329117}" type="presOf" srcId="{F331CA08-40E2-4C12-84C8-9AE7EC8B6DD6}" destId="{BF5A6700-E73A-4C76-AB30-5E258848545C}" srcOrd="0" destOrd="7" presId="urn:microsoft.com/office/officeart/2005/8/layout/vList2"/>
    <dgm:cxn modelId="{06262C94-D39C-428F-8ACB-CC1B3F120CA6}" srcId="{B3FBD9A1-9E96-4B05-ADA4-D676C242164F}" destId="{95A4E54D-3F39-4278-81F6-EA35748A6217}" srcOrd="0" destOrd="0" parTransId="{4F763715-5F34-4661-BC64-A8350FC3B55C}" sibTransId="{6D84827F-B3EE-480F-B11B-A259A6C3A417}"/>
    <dgm:cxn modelId="{FAF12C1F-69B6-441D-8CB9-19D6CEB13058}" srcId="{26BE7C14-7621-4829-8FDB-F54722BBB351}" destId="{73F1E484-4E60-4DC2-9730-BF6E86925CD7}" srcOrd="9" destOrd="0" parTransId="{EB1E1E87-F21F-4F53-8F47-F59311033710}" sibTransId="{FD1D2FE1-2C4D-46D4-9C1D-D1D1113608A1}"/>
    <dgm:cxn modelId="{A5DCB8E6-7357-49BD-A36C-36E434CE89C7}" srcId="{95A4E54D-3F39-4278-81F6-EA35748A6217}" destId="{66A47BEE-44D0-440B-B85C-198E7A95CF52}" srcOrd="0" destOrd="0" parTransId="{EDA9556E-EEF3-4B7F-B6AE-F66FD3B23CBC}" sibTransId="{69770DE9-171F-4538-A067-95741B85D405}"/>
    <dgm:cxn modelId="{0217E14D-84D5-44BE-90C1-5692074C3769}" type="presOf" srcId="{2184AAD6-9A2C-4FB3-9A61-3BE58C847A4B}" destId="{135D980B-F227-4000-9869-2D5A8FA31B13}" srcOrd="0" destOrd="1" presId="urn:microsoft.com/office/officeart/2005/8/layout/vList2"/>
    <dgm:cxn modelId="{AAB258C1-7359-4840-846B-CA8B0205C17B}" srcId="{95A4E54D-3F39-4278-81F6-EA35748A6217}" destId="{EA60EFBF-FCBE-447C-BCBC-E04AB5A04182}" srcOrd="2" destOrd="0" parTransId="{A54EF8D3-42EA-4BEB-BB97-F0E4CB87C3D6}" sibTransId="{FA9C2AD3-6F9C-4DDC-98E2-4B5ED7C85FA6}"/>
    <dgm:cxn modelId="{A76663D6-5C71-4111-AFB1-603B3776A2F5}" type="presOf" srcId="{F3E685CF-9490-4511-B061-9C350F7E8C63}" destId="{BF5A6700-E73A-4C76-AB30-5E258848545C}" srcOrd="0" destOrd="1" presId="urn:microsoft.com/office/officeart/2005/8/layout/vList2"/>
    <dgm:cxn modelId="{BBC0533D-2696-4DA4-ABB9-AC2B89BA2428}" type="presOf" srcId="{B637715B-D72B-4C51-9342-B785C3306E9C}" destId="{BF5A6700-E73A-4C76-AB30-5E258848545C}" srcOrd="0" destOrd="2" presId="urn:microsoft.com/office/officeart/2005/8/layout/vList2"/>
    <dgm:cxn modelId="{BC7D76A9-1B3E-4349-BA76-F7D035C09CCA}" type="presOf" srcId="{EA60EFBF-FCBE-447C-BCBC-E04AB5A04182}" destId="{135D980B-F227-4000-9869-2D5A8FA31B13}" srcOrd="0" destOrd="2" presId="urn:microsoft.com/office/officeart/2005/8/layout/vList2"/>
    <dgm:cxn modelId="{BCCCC5CF-164E-4B9B-AD5D-7783753FAB69}" srcId="{26BE7C14-7621-4829-8FDB-F54722BBB351}" destId="{0F8544D6-B935-4371-BEC9-226BD76F45FF}" srcOrd="10" destOrd="0" parTransId="{BF6D8480-AFCC-4AE2-A799-64459CAD80FC}" sibTransId="{2782EFAB-6AD6-47EE-A42A-F2344750832B}"/>
    <dgm:cxn modelId="{9DAEB52A-1612-4427-9BC6-80AC9034B783}" srcId="{26BE7C14-7621-4829-8FDB-F54722BBB351}" destId="{0B24C4BC-DF72-480E-8AB6-A33062368E30}" srcOrd="4" destOrd="0" parTransId="{DD360B71-6DAB-490D-B4ED-D8E5A7019C94}" sibTransId="{9F80740D-813B-4BC7-B009-0F2196BEC139}"/>
    <dgm:cxn modelId="{FD3D13A5-A8DC-4982-BA2B-D4DA2120CFBA}" type="presOf" srcId="{0B24C4BC-DF72-480E-8AB6-A33062368E30}" destId="{BF5A6700-E73A-4C76-AB30-5E258848545C}" srcOrd="0" destOrd="4" presId="urn:microsoft.com/office/officeart/2005/8/layout/vList2"/>
    <dgm:cxn modelId="{155ABE32-D96A-4A65-853F-F07B7AE99934}" type="presOf" srcId="{AC9F85D0-23ED-4CB3-8DE8-BF77519DDDF3}" destId="{BF5A6700-E73A-4C76-AB30-5E258848545C}" srcOrd="0" destOrd="3" presId="urn:microsoft.com/office/officeart/2005/8/layout/vList2"/>
    <dgm:cxn modelId="{0C8C9D90-74D8-4D15-9C97-65B70FC67DED}" type="presOf" srcId="{B3FBD9A1-9E96-4B05-ADA4-D676C242164F}" destId="{D4BDAF16-5A50-4FD6-98AF-A2BF05ACEC86}" srcOrd="0" destOrd="0" presId="urn:microsoft.com/office/officeart/2005/8/layout/vList2"/>
    <dgm:cxn modelId="{18B84BA8-9D54-4F47-A27C-B4EF786AB68D}" srcId="{B3FBD9A1-9E96-4B05-ADA4-D676C242164F}" destId="{26BE7C14-7621-4829-8FDB-F54722BBB351}" srcOrd="1" destOrd="0" parTransId="{5F905949-92EF-4C24-A9C8-4AADD52A2728}" sibTransId="{F1698962-4368-43D2-9A33-BF10BE48AFC8}"/>
    <dgm:cxn modelId="{2B2EE841-41F0-4B59-899A-6AEB1ADDB49A}" type="presParOf" srcId="{D4BDAF16-5A50-4FD6-98AF-A2BF05ACEC86}" destId="{941B5F1E-BE5B-4512-8FFD-930037772452}" srcOrd="0" destOrd="0" presId="urn:microsoft.com/office/officeart/2005/8/layout/vList2"/>
    <dgm:cxn modelId="{86579E92-312A-4991-8F39-69E3BA96ACBE}" type="presParOf" srcId="{D4BDAF16-5A50-4FD6-98AF-A2BF05ACEC86}" destId="{135D980B-F227-4000-9869-2D5A8FA31B13}" srcOrd="1" destOrd="0" presId="urn:microsoft.com/office/officeart/2005/8/layout/vList2"/>
    <dgm:cxn modelId="{7F27F169-2492-41E2-BC68-358714D27D81}" type="presParOf" srcId="{D4BDAF16-5A50-4FD6-98AF-A2BF05ACEC86}" destId="{003283A4-BBAE-49F6-A32A-13D1CE661B99}" srcOrd="2" destOrd="0" presId="urn:microsoft.com/office/officeart/2005/8/layout/vList2"/>
    <dgm:cxn modelId="{6788C2B7-E064-41F5-A0F3-478AD477251E}" type="presParOf" srcId="{D4BDAF16-5A50-4FD6-98AF-A2BF05ACEC86}" destId="{BF5A6700-E73A-4C76-AB30-5E258848545C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erson</a:t>
          </a:r>
          <a:endParaRPr lang="de-DE" sz="1600" dirty="0">
            <a:solidFill>
              <a:schemeClr val="bg1"/>
            </a:solidFill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Education</a:t>
          </a:r>
          <a:endParaRPr lang="de-DE" sz="1600" dirty="0">
            <a:solidFill>
              <a:schemeClr val="bg1"/>
            </a:solidFill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Today</a:t>
          </a:r>
          <a:endParaRPr lang="de-DE" sz="1600" dirty="0">
            <a:solidFill>
              <a:schemeClr val="bg1"/>
            </a:solidFill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Name : Adriano Perri</a:t>
          </a:r>
          <a:endParaRPr lang="de-DE" dirty="0">
            <a:solidFill>
              <a:schemeClr val="tx1"/>
            </a:solidFill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ge : 23</a:t>
          </a:r>
          <a:endParaRPr lang="de-DE" dirty="0">
            <a:solidFill>
              <a:schemeClr val="tx1"/>
            </a:solidFill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rom : Berlin</a:t>
          </a:r>
          <a:endParaRPr lang="de-DE" dirty="0">
            <a:solidFill>
              <a:schemeClr val="tx1"/>
            </a:solidFill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bitur</a:t>
          </a:r>
          <a:endParaRPr lang="de-DE" dirty="0">
            <a:solidFill>
              <a:schemeClr val="tx1"/>
            </a:solidFill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A6DD347C-12CA-48C6-9438-B357F2A1BA84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studied 2 semester geoecology</a:t>
          </a:r>
          <a:endParaRPr lang="de-DE" dirty="0">
            <a:solidFill>
              <a:schemeClr val="tx1"/>
            </a:solidFill>
          </a:endParaRPr>
        </a:p>
      </dgm:t>
    </dgm:pt>
    <dgm:pt modelId="{8A5D3319-98A8-4A4A-AA08-8389F0C6D90E}" type="parTrans" cxnId="{9393A224-1B1A-4125-8128-C0D8DCEA7BA4}">
      <dgm:prSet/>
      <dgm:spPr/>
      <dgm:t>
        <a:bodyPr/>
        <a:lstStyle/>
        <a:p>
          <a:endParaRPr lang="de-DE"/>
        </a:p>
      </dgm:t>
    </dgm:pt>
    <dgm:pt modelId="{2F4C50C8-72B2-47C9-B2A2-D8033F70A25B}" type="sibTrans" cxnId="{9393A224-1B1A-4125-8128-C0D8DCEA7BA4}">
      <dgm:prSet/>
      <dgm:spPr/>
      <dgm:t>
        <a:bodyPr/>
        <a:lstStyle/>
        <a:p>
          <a:endParaRPr lang="de-DE"/>
        </a:p>
      </dgm:t>
    </dgm:pt>
    <dgm:pt modelId="{DC522296-EE52-4299-A763-BCD34F51752A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pprenticeship until 2018</a:t>
          </a:r>
          <a:endParaRPr lang="de-DE" dirty="0">
            <a:solidFill>
              <a:schemeClr val="tx1"/>
            </a:solidFill>
          </a:endParaRPr>
        </a:p>
      </dgm:t>
    </dgm:pt>
    <dgm:pt modelId="{FA52F281-4C65-4DCA-98B0-8D42F02E6060}" type="parTrans" cxnId="{BF988CC3-A510-4F7B-ADF4-BE153F9C01FA}">
      <dgm:prSet/>
      <dgm:spPr/>
      <dgm:t>
        <a:bodyPr/>
        <a:lstStyle/>
        <a:p>
          <a:endParaRPr lang="de-DE"/>
        </a:p>
      </dgm:t>
    </dgm:pt>
    <dgm:pt modelId="{CC3AD089-EB47-4F29-889D-F4B421E6D6B9}" type="sibTrans" cxnId="{BF988CC3-A510-4F7B-ADF4-BE153F9C01FA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Vocation : management assistant in IT systems</a:t>
          </a:r>
          <a:endParaRPr lang="de-DE" dirty="0">
            <a:solidFill>
              <a:schemeClr val="tx1"/>
            </a:solidFill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>
            <a:solidFill>
              <a:schemeClr val="tx1"/>
            </a:solidFill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F5060FF-A085-4BBF-84B3-029E868315D5}" type="presOf" srcId="{8C253FF5-4B38-46AA-9604-5740D538721B}" destId="{36EDF564-50E4-47F9-8DB5-BE5E735EFF0D}" srcOrd="1" destOrd="0" presId="urn:microsoft.com/office/officeart/2005/8/layout/list1"/>
    <dgm:cxn modelId="{DB271FA4-D644-45FD-A769-3448F4BB7CA8}" type="presOf" srcId="{3CDAD735-0FA4-4F18-A4FF-BF26A4239D57}" destId="{4FBAF1EA-119C-4A7D-BED0-7FD2E02DC8D3}" srcOrd="0" destOrd="2" presId="urn:microsoft.com/office/officeart/2005/8/layout/list1"/>
    <dgm:cxn modelId="{BF988CC3-A510-4F7B-ADF4-BE153F9C01FA}" srcId="{4025DB9A-0ED1-4F00-BB3A-1E38CF3525C6}" destId="{DC522296-EE52-4299-A763-BCD34F51752A}" srcOrd="2" destOrd="0" parTransId="{FA52F281-4C65-4DCA-98B0-8D42F02E6060}" sibTransId="{CC3AD089-EB47-4F29-889D-F4B421E6D6B9}"/>
    <dgm:cxn modelId="{84AFFE77-146D-4310-A514-99DEA2F02870}" type="presOf" srcId="{69659624-A646-42E4-A835-F1EBBBD9138B}" destId="{4FBAF1EA-119C-4A7D-BED0-7FD2E02DC8D3}" srcOrd="0" destOrd="0" presId="urn:microsoft.com/office/officeart/2005/8/layout/list1"/>
    <dgm:cxn modelId="{CCB41DE2-5445-43A3-A517-BE941B86529C}" type="presOf" srcId="{8C253FF5-4B38-46AA-9604-5740D538721B}" destId="{0C7FECAC-14A2-4CFA-A84E-D34ECF27687B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63CD7623-A9C5-445F-BDB7-CEB577F71604}" type="presOf" srcId="{3C07000C-9F24-45B6-AE25-D54ADF954BCD}" destId="{9BB4A022-7BE9-4D96-9DCD-74C58E8AC746}" srcOrd="0" destOrd="0" presId="urn:microsoft.com/office/officeart/2005/8/layout/list1"/>
    <dgm:cxn modelId="{83EA420E-4851-4A18-90BA-E073B02FB75B}" type="presOf" srcId="{54518278-5A2B-46A8-AB9B-56E9194056B6}" destId="{148A2150-C136-4328-AEF5-922C2C3CE943}" srcOrd="0" destOrd="0" presId="urn:microsoft.com/office/officeart/2005/8/layout/list1"/>
    <dgm:cxn modelId="{9393A224-1B1A-4125-8128-C0D8DCEA7BA4}" srcId="{4025DB9A-0ED1-4F00-BB3A-1E38CF3525C6}" destId="{A6DD347C-12CA-48C6-9438-B357F2A1BA84}" srcOrd="1" destOrd="0" parTransId="{8A5D3319-98A8-4A4A-AA08-8389F0C6D90E}" sibTransId="{2F4C50C8-72B2-47C9-B2A2-D8033F70A25B}"/>
    <dgm:cxn modelId="{4B512BF6-472B-4A3F-A7A2-1CA0C38C387E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C826D610-94D3-446B-AFC3-7B0296A1193E}" type="presOf" srcId="{4025DB9A-0ED1-4F00-BB3A-1E38CF3525C6}" destId="{2CFFDFEA-2A6E-4B3D-970A-80A69C636168}" srcOrd="0" destOrd="0" presId="urn:microsoft.com/office/officeart/2005/8/layout/list1"/>
    <dgm:cxn modelId="{1CFF7C5B-8564-4BE3-8167-26316980E42E}" type="presOf" srcId="{A6DD347C-12CA-48C6-9438-B357F2A1BA84}" destId="{148A2150-C136-4328-AEF5-922C2C3CE943}" srcOrd="0" destOrd="1" presId="urn:microsoft.com/office/officeart/2005/8/layout/list1"/>
    <dgm:cxn modelId="{4B497E8C-BEC7-44BB-843B-1EF1CBDA7CE4}" type="presOf" srcId="{2145B9AC-3DB4-49BD-8B9D-67935175CE51}" destId="{858BC837-E5A9-4C97-BB1B-4A6AFF7AC6A1}" srcOrd="0" destOrd="0" presId="urn:microsoft.com/office/officeart/2005/8/layout/list1"/>
    <dgm:cxn modelId="{B92A6227-4CEB-42B6-8D6D-440A5FFAEF2E}" type="presOf" srcId="{2145B9AC-3DB4-49BD-8B9D-67935175CE51}" destId="{6B6A897F-5665-48D8-ACE1-FC4B644D487D}" srcOrd="1" destOrd="0" presId="urn:microsoft.com/office/officeart/2005/8/layout/list1"/>
    <dgm:cxn modelId="{758A4C6F-E26A-4E19-A9C5-3F453C1FD621}" type="presOf" srcId="{4025DB9A-0ED1-4F00-BB3A-1E38CF3525C6}" destId="{BA975037-BE6C-4B32-8DBF-C84C73617461}" srcOrd="1" destOrd="0" presId="urn:microsoft.com/office/officeart/2005/8/layout/list1"/>
    <dgm:cxn modelId="{283D4722-9099-4AA5-A129-3EAFB2CD708B}" type="presOf" srcId="{DC522296-EE52-4299-A763-BCD34F51752A}" destId="{148A2150-C136-4328-AEF5-922C2C3CE943}" srcOrd="0" destOrd="2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649E4E08-BE4A-48E5-9120-D55A2E9FDE0C}" type="presOf" srcId="{601AD484-C774-4133-8EDD-E25DC144CF18}" destId="{1D380A2A-1436-4BC6-9682-4A6F1756B36A}" srcOrd="0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FF1A045-0D05-46D1-8C49-1D3E6D25A887}" type="presOf" srcId="{7568D8BD-3F6A-43A9-8AAE-FAA6DFA2E7E3}" destId="{4FBAF1EA-119C-4A7D-BED0-7FD2E02DC8D3}" srcOrd="0" destOrd="1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28E7E9A8-26C3-4136-A0B0-35B127C7A783}" type="presOf" srcId="{F2B4C515-55AA-47D4-9B31-B9AE1EADBD52}" destId="{1D380A2A-1436-4BC6-9682-4A6F1756B36A}" srcOrd="0" destOrd="2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89CF9556-AB33-43ED-9FB6-79DABD871D5E}" type="presParOf" srcId="{9BB4A022-7BE9-4D96-9DCD-74C58E8AC746}" destId="{214F8A8D-5B2A-4C46-8AEB-8645900EAAFC}" srcOrd="0" destOrd="0" presId="urn:microsoft.com/office/officeart/2005/8/layout/list1"/>
    <dgm:cxn modelId="{8E023162-E7CE-417C-BA5D-C9099E80BACA}" type="presParOf" srcId="{214F8A8D-5B2A-4C46-8AEB-8645900EAAFC}" destId="{0C7FECAC-14A2-4CFA-A84E-D34ECF27687B}" srcOrd="0" destOrd="0" presId="urn:microsoft.com/office/officeart/2005/8/layout/list1"/>
    <dgm:cxn modelId="{82610D2E-A44E-46E9-8E4B-316D1C6D79F8}" type="presParOf" srcId="{214F8A8D-5B2A-4C46-8AEB-8645900EAAFC}" destId="{36EDF564-50E4-47F9-8DB5-BE5E735EFF0D}" srcOrd="1" destOrd="0" presId="urn:microsoft.com/office/officeart/2005/8/layout/list1"/>
    <dgm:cxn modelId="{6D0D4801-A64B-4C44-993A-B34339303373}" type="presParOf" srcId="{9BB4A022-7BE9-4D96-9DCD-74C58E8AC746}" destId="{0929419D-D828-4EB1-BE85-545FAC75147D}" srcOrd="1" destOrd="0" presId="urn:microsoft.com/office/officeart/2005/8/layout/list1"/>
    <dgm:cxn modelId="{A829EAA3-A58E-43AD-8718-11CF8952F047}" type="presParOf" srcId="{9BB4A022-7BE9-4D96-9DCD-74C58E8AC746}" destId="{4FBAF1EA-119C-4A7D-BED0-7FD2E02DC8D3}" srcOrd="2" destOrd="0" presId="urn:microsoft.com/office/officeart/2005/8/layout/list1"/>
    <dgm:cxn modelId="{CEB64A20-D255-4909-953B-5538D3A34F4D}" type="presParOf" srcId="{9BB4A022-7BE9-4D96-9DCD-74C58E8AC746}" destId="{3F047EE5-19F6-4FFB-A6EB-10F6CB893674}" srcOrd="3" destOrd="0" presId="urn:microsoft.com/office/officeart/2005/8/layout/list1"/>
    <dgm:cxn modelId="{0DF2EDC6-E7EC-46A7-91CF-5E4388EFBEA0}" type="presParOf" srcId="{9BB4A022-7BE9-4D96-9DCD-74C58E8AC746}" destId="{BD9540F2-B1BE-4B3B-A1A2-74B6265040F7}" srcOrd="4" destOrd="0" presId="urn:microsoft.com/office/officeart/2005/8/layout/list1"/>
    <dgm:cxn modelId="{207183DA-2F3F-45FD-ABDD-EC186BEB31DB}" type="presParOf" srcId="{BD9540F2-B1BE-4B3B-A1A2-74B6265040F7}" destId="{2CFFDFEA-2A6E-4B3D-970A-80A69C636168}" srcOrd="0" destOrd="0" presId="urn:microsoft.com/office/officeart/2005/8/layout/list1"/>
    <dgm:cxn modelId="{20CA9236-59B6-442B-8522-696BE73FB5C8}" type="presParOf" srcId="{BD9540F2-B1BE-4B3B-A1A2-74B6265040F7}" destId="{BA975037-BE6C-4B32-8DBF-C84C73617461}" srcOrd="1" destOrd="0" presId="urn:microsoft.com/office/officeart/2005/8/layout/list1"/>
    <dgm:cxn modelId="{DC0F41B3-5768-4C78-BA48-CCF23BA6C0B4}" type="presParOf" srcId="{9BB4A022-7BE9-4D96-9DCD-74C58E8AC746}" destId="{7B63C310-DF5C-4B83-921A-43B067EC887A}" srcOrd="5" destOrd="0" presId="urn:microsoft.com/office/officeart/2005/8/layout/list1"/>
    <dgm:cxn modelId="{F28433E0-9241-4F83-BAB5-77F4596D015D}" type="presParOf" srcId="{9BB4A022-7BE9-4D96-9DCD-74C58E8AC746}" destId="{148A2150-C136-4328-AEF5-922C2C3CE943}" srcOrd="6" destOrd="0" presId="urn:microsoft.com/office/officeart/2005/8/layout/list1"/>
    <dgm:cxn modelId="{1A04BCC7-2F14-41F9-B733-269A11D20C8C}" type="presParOf" srcId="{9BB4A022-7BE9-4D96-9DCD-74C58E8AC746}" destId="{0FC8BB4E-8250-4F46-B57E-26C6F3C17C11}" srcOrd="7" destOrd="0" presId="urn:microsoft.com/office/officeart/2005/8/layout/list1"/>
    <dgm:cxn modelId="{0E4D2218-8465-4DD7-9B38-8B95D2595366}" type="presParOf" srcId="{9BB4A022-7BE9-4D96-9DCD-74C58E8AC746}" destId="{730D1FBB-F471-4D30-A724-DB54D34EC6E9}" srcOrd="8" destOrd="0" presId="urn:microsoft.com/office/officeart/2005/8/layout/list1"/>
    <dgm:cxn modelId="{E0E65477-8BC5-4022-A13D-D739CF9DA4F3}" type="presParOf" srcId="{730D1FBB-F471-4D30-A724-DB54D34EC6E9}" destId="{858BC837-E5A9-4C97-BB1B-4A6AFF7AC6A1}" srcOrd="0" destOrd="0" presId="urn:microsoft.com/office/officeart/2005/8/layout/list1"/>
    <dgm:cxn modelId="{E85FBC13-075C-4250-95C9-E05B54147161}" type="presParOf" srcId="{730D1FBB-F471-4D30-A724-DB54D34EC6E9}" destId="{6B6A897F-5665-48D8-ACE1-FC4B644D487D}" srcOrd="1" destOrd="0" presId="urn:microsoft.com/office/officeart/2005/8/layout/list1"/>
    <dgm:cxn modelId="{67216120-2B5D-4B0E-A77F-14C3D7264E67}" type="presParOf" srcId="{9BB4A022-7BE9-4D96-9DCD-74C58E8AC746}" destId="{7140714F-DE80-44C7-8816-CA26445D9ECC}" srcOrd="9" destOrd="0" presId="urn:microsoft.com/office/officeart/2005/8/layout/list1"/>
    <dgm:cxn modelId="{CB65F85E-5AA5-4BBE-A5A4-99E5CFC40C7B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2D9C519E-F4B8-482C-9003-418236DEEBFB}" type="presOf" srcId="{D14807FD-294C-4482-91EE-34C09B13669A}" destId="{BCE275B7-D1E9-4183-BABE-507E54E1C931}" srcOrd="0" destOrd="0" presId="urn:microsoft.com/office/officeart/2005/8/layout/chevron1"/>
    <dgm:cxn modelId="{4F49B6C1-9679-4EFE-8409-C371B748834C}" type="presOf" srcId="{EB61DA86-9B86-4759-822E-DA32F7AA073E}" destId="{135DB1F4-89C2-4733-9521-42FD5CECF10C}" srcOrd="0" destOrd="0" presId="urn:microsoft.com/office/officeart/2005/8/layout/chevron1"/>
    <dgm:cxn modelId="{3BFDE228-D2CC-4DB2-BD15-F720ABA14B57}" type="presOf" srcId="{544A2B27-F62F-4504-85C1-82D7732CCB0A}" destId="{6B5B1B16-1D46-4D7F-892D-7D67FB436452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F8D9038E-55E7-4667-B0E6-BB6B19A07D8B}" type="presOf" srcId="{9C869D94-BD20-4CF6-9CAA-58E706B950F6}" destId="{0AECE453-CE2A-473C-BD27-70D00DA5B95C}" srcOrd="0" destOrd="0" presId="urn:microsoft.com/office/officeart/2005/8/layout/chevron1"/>
    <dgm:cxn modelId="{D66026FF-3B84-4DD0-BACD-1E754BA3BEC9}" type="presOf" srcId="{F351D095-D2C1-4F62-A18D-EFB4BA6E2AA9}" destId="{6BF66C9A-92D4-481D-A538-FD1A4E3DC0D5}" srcOrd="0" destOrd="0" presId="urn:microsoft.com/office/officeart/2005/8/layout/chevron1"/>
    <dgm:cxn modelId="{9DA626F8-CE6A-46FD-A0E5-757A7BB33BAC}" type="presParOf" srcId="{0AECE453-CE2A-473C-BD27-70D00DA5B95C}" destId="{135DB1F4-89C2-4733-9521-42FD5CECF10C}" srcOrd="0" destOrd="0" presId="urn:microsoft.com/office/officeart/2005/8/layout/chevron1"/>
    <dgm:cxn modelId="{18B881C4-278F-4012-8055-E9C443FDAD17}" type="presParOf" srcId="{0AECE453-CE2A-473C-BD27-70D00DA5B95C}" destId="{E1C76734-9ABE-473C-AD4C-C4BF49F91E97}" srcOrd="1" destOrd="0" presId="urn:microsoft.com/office/officeart/2005/8/layout/chevron1"/>
    <dgm:cxn modelId="{6F0DAD46-A5B8-4319-A170-7683C4574479}" type="presParOf" srcId="{0AECE453-CE2A-473C-BD27-70D00DA5B95C}" destId="{6BF66C9A-92D4-481D-A538-FD1A4E3DC0D5}" srcOrd="2" destOrd="0" presId="urn:microsoft.com/office/officeart/2005/8/layout/chevron1"/>
    <dgm:cxn modelId="{8AA42CD0-E69F-4445-BFD4-156F1A1B709A}" type="presParOf" srcId="{0AECE453-CE2A-473C-BD27-70D00DA5B95C}" destId="{691CB221-7DD5-49BE-AC21-301798066F30}" srcOrd="3" destOrd="0" presId="urn:microsoft.com/office/officeart/2005/8/layout/chevron1"/>
    <dgm:cxn modelId="{4B1DB4BD-7C1E-48A3-98C6-26ECB85A11B8}" type="presParOf" srcId="{0AECE453-CE2A-473C-BD27-70D00DA5B95C}" destId="{6B5B1B16-1D46-4D7F-892D-7D67FB436452}" srcOrd="4" destOrd="0" presId="urn:microsoft.com/office/officeart/2005/8/layout/chevron1"/>
    <dgm:cxn modelId="{E7525955-AB1F-4A25-8E49-CB4E17DB55FC}" type="presParOf" srcId="{0AECE453-CE2A-473C-BD27-70D00DA5B95C}" destId="{E20E6850-4B52-4A6E-A4B6-B5AE207EA15E}" srcOrd="5" destOrd="0" presId="urn:microsoft.com/office/officeart/2005/8/layout/chevron1"/>
    <dgm:cxn modelId="{6B6CBC0D-DDEE-403F-B940-2846BA2AA7EB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erson</a:t>
          </a:r>
          <a:endParaRPr lang="de-DE" sz="1600" dirty="0">
            <a:solidFill>
              <a:schemeClr val="bg1"/>
            </a:solidFill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Education</a:t>
          </a:r>
          <a:endParaRPr lang="de-DE" sz="1600" dirty="0">
            <a:solidFill>
              <a:schemeClr val="bg1"/>
            </a:solidFill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Today</a:t>
          </a:r>
          <a:endParaRPr lang="de-DE" sz="1600" dirty="0">
            <a:solidFill>
              <a:schemeClr val="bg1"/>
            </a:solidFill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Name : Janika Schäfer</a:t>
          </a:r>
          <a:endParaRPr lang="de-DE" dirty="0">
            <a:solidFill>
              <a:schemeClr val="tx1"/>
            </a:solidFill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ge : 21</a:t>
          </a:r>
          <a:endParaRPr lang="de-DE" dirty="0">
            <a:solidFill>
              <a:schemeClr val="tx1"/>
            </a:solidFill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rom : Berlin</a:t>
          </a:r>
          <a:endParaRPr lang="de-DE" dirty="0">
            <a:solidFill>
              <a:schemeClr val="tx1"/>
            </a:solidFill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Vocation : IT systems technician</a:t>
          </a:r>
          <a:endParaRPr lang="de-DE" dirty="0">
            <a:solidFill>
              <a:schemeClr val="tx1"/>
            </a:solidFill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studying : bachelor of engineering in communication &amp; media computer science</a:t>
          </a:r>
          <a:endParaRPr lang="de-DE" dirty="0">
            <a:solidFill>
              <a:schemeClr val="tx1"/>
            </a:solidFill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>
            <a:solidFill>
              <a:schemeClr val="tx1"/>
            </a:solidFill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inished 2015 </a:t>
          </a:r>
          <a:endParaRPr lang="de-DE" dirty="0">
            <a:solidFill>
              <a:schemeClr val="tx1"/>
            </a:solidFill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FFC1A143-CE45-4600-AE1D-BBB5AF931319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with Abitur</a:t>
          </a:r>
          <a:endParaRPr lang="de-DE" dirty="0">
            <a:solidFill>
              <a:schemeClr val="tx1"/>
            </a:solidFill>
          </a:endParaRPr>
        </a:p>
      </dgm:t>
    </dgm:pt>
    <dgm:pt modelId="{231F71D0-7DEC-43A3-A2BE-6FAF5BB8A0C2}" type="parTrans" cxnId="{D6C38B53-6341-43B7-9CE6-AABE5BB81237}">
      <dgm:prSet/>
      <dgm:spPr/>
      <dgm:t>
        <a:bodyPr/>
        <a:lstStyle/>
        <a:p>
          <a:endParaRPr lang="de-DE"/>
        </a:p>
      </dgm:t>
    </dgm:pt>
    <dgm:pt modelId="{2104D3C9-7B03-47C1-AD45-C5ABBCAF7C8D}" type="sibTrans" cxnId="{D6C38B53-6341-43B7-9CE6-AABE5BB81237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161D1077-677B-463C-A101-3A11FD24F177}" type="presOf" srcId="{2145B9AC-3DB4-49BD-8B9D-67935175CE51}" destId="{6B6A897F-5665-48D8-ACE1-FC4B644D487D}" srcOrd="1" destOrd="0" presId="urn:microsoft.com/office/officeart/2005/8/layout/list1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D947E909-A4FA-4760-A91C-70F365207B89}" type="presOf" srcId="{4025DB9A-0ED1-4F00-BB3A-1E38CF3525C6}" destId="{BA975037-BE6C-4B32-8DBF-C84C73617461}" srcOrd="1" destOrd="0" presId="urn:microsoft.com/office/officeart/2005/8/layout/list1"/>
    <dgm:cxn modelId="{D026DBED-ED73-4024-A45B-4DE1BA9E1BA8}" type="presOf" srcId="{F2B4C515-55AA-47D4-9B31-B9AE1EADBD52}" destId="{1D380A2A-1436-4BC6-9682-4A6F1756B36A}" srcOrd="0" destOrd="2" presId="urn:microsoft.com/office/officeart/2005/8/layout/list1"/>
    <dgm:cxn modelId="{94014D9E-99D6-4C41-A470-B745CE75C438}" type="presOf" srcId="{4025DB9A-0ED1-4F00-BB3A-1E38CF3525C6}" destId="{2CFFDFEA-2A6E-4B3D-970A-80A69C636168}" srcOrd="0" destOrd="0" presId="urn:microsoft.com/office/officeart/2005/8/layout/list1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97428B0F-8867-4442-AEFF-9A2DFC2C26FA}" type="presOf" srcId="{8C253FF5-4B38-46AA-9604-5740D538721B}" destId="{0C7FECAC-14A2-4CFA-A84E-D34ECF27687B}" srcOrd="0" destOrd="0" presId="urn:microsoft.com/office/officeart/2005/8/layout/list1"/>
    <dgm:cxn modelId="{2630C018-226F-4F48-830B-10111EF2BBB0}" type="presOf" srcId="{3C07000C-9F24-45B6-AE25-D54ADF954BCD}" destId="{9BB4A022-7BE9-4D96-9DCD-74C58E8AC746}" srcOrd="0" destOrd="0" presId="urn:microsoft.com/office/officeart/2005/8/layout/list1"/>
    <dgm:cxn modelId="{3177CABB-2B2D-4AF7-8E84-DF0BD05D13A4}" type="presOf" srcId="{D31ACE79-716D-4988-9827-903EFAC73783}" destId="{1D380A2A-1436-4BC6-9682-4A6F1756B36A}" srcOrd="0" destOrd="1" presId="urn:microsoft.com/office/officeart/2005/8/layout/list1"/>
    <dgm:cxn modelId="{9CCD9BD3-7681-4624-ADF8-C6F82956891E}" type="presOf" srcId="{4EAC3585-C35B-475B-A0B4-C56466A81D68}" destId="{148A2150-C136-4328-AEF5-922C2C3CE943}" srcOrd="0" destOrd="2" presId="urn:microsoft.com/office/officeart/2005/8/layout/list1"/>
    <dgm:cxn modelId="{D6C38B53-6341-43B7-9CE6-AABE5BB81237}" srcId="{4025DB9A-0ED1-4F00-BB3A-1E38CF3525C6}" destId="{FFC1A143-CE45-4600-AE1D-BBB5AF931319}" srcOrd="1" destOrd="0" parTransId="{231F71D0-7DEC-43A3-A2BE-6FAF5BB8A0C2}" sibTransId="{2104D3C9-7B03-47C1-AD45-C5ABBCAF7C8D}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067F6018-672F-456D-94BA-3A30889D0927}" type="presOf" srcId="{FFC1A143-CE45-4600-AE1D-BBB5AF931319}" destId="{148A2150-C136-4328-AEF5-922C2C3CE943}" srcOrd="0" destOrd="1" presId="urn:microsoft.com/office/officeart/2005/8/layout/list1"/>
    <dgm:cxn modelId="{1DD8FC20-D341-41B1-A71E-3A6BECD5846F}" type="presOf" srcId="{54518278-5A2B-46A8-AB9B-56E9194056B6}" destId="{148A2150-C136-4328-AEF5-922C2C3CE943}" srcOrd="0" destOrd="0" presId="urn:microsoft.com/office/officeart/2005/8/layout/list1"/>
    <dgm:cxn modelId="{51C5703D-6334-4C63-9EEF-8FD02C7C70CE}" type="presOf" srcId="{69659624-A646-42E4-A835-F1EBBBD9138B}" destId="{4FBAF1EA-119C-4A7D-BED0-7FD2E02DC8D3}" srcOrd="0" destOrd="0" presId="urn:microsoft.com/office/officeart/2005/8/layout/list1"/>
    <dgm:cxn modelId="{5EBEDFF7-F804-4962-97D9-29A9EFEE42DD}" type="presOf" srcId="{601AD484-C774-4133-8EDD-E25DC144CF18}" destId="{1D380A2A-1436-4BC6-9682-4A6F1756B36A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153D9D62-B6EE-4ACD-9B33-703E10CD03B3}" type="presOf" srcId="{2145B9AC-3DB4-49BD-8B9D-67935175CE51}" destId="{858BC837-E5A9-4C97-BB1B-4A6AFF7AC6A1}" srcOrd="0" destOrd="0" presId="urn:microsoft.com/office/officeart/2005/8/layout/list1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F5284D11-6B78-4CD3-88CE-FB3E200281B3}" type="presOf" srcId="{3CDAD735-0FA4-4F18-A4FF-BF26A4239D57}" destId="{4FBAF1EA-119C-4A7D-BED0-7FD2E02DC8D3}" srcOrd="0" destOrd="2" presId="urn:microsoft.com/office/officeart/2005/8/layout/list1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1137B6FC-A76E-4630-887A-F8D304846858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FB1E418-98E2-404D-915B-ECA94149EE97}" type="presOf" srcId="{7568D8BD-3F6A-43A9-8AAE-FAA6DFA2E7E3}" destId="{4FBAF1EA-119C-4A7D-BED0-7FD2E02DC8D3}" srcOrd="0" destOrd="1" presId="urn:microsoft.com/office/officeart/2005/8/layout/list1"/>
    <dgm:cxn modelId="{368F6A7A-ED14-43D3-93F2-49A18681F77B}" type="presParOf" srcId="{9BB4A022-7BE9-4D96-9DCD-74C58E8AC746}" destId="{214F8A8D-5B2A-4C46-8AEB-8645900EAAFC}" srcOrd="0" destOrd="0" presId="urn:microsoft.com/office/officeart/2005/8/layout/list1"/>
    <dgm:cxn modelId="{0AECF9DE-6D92-4129-9D2D-C926497AD046}" type="presParOf" srcId="{214F8A8D-5B2A-4C46-8AEB-8645900EAAFC}" destId="{0C7FECAC-14A2-4CFA-A84E-D34ECF27687B}" srcOrd="0" destOrd="0" presId="urn:microsoft.com/office/officeart/2005/8/layout/list1"/>
    <dgm:cxn modelId="{669AB286-3642-444F-BDB3-76455573B782}" type="presParOf" srcId="{214F8A8D-5B2A-4C46-8AEB-8645900EAAFC}" destId="{36EDF564-50E4-47F9-8DB5-BE5E735EFF0D}" srcOrd="1" destOrd="0" presId="urn:microsoft.com/office/officeart/2005/8/layout/list1"/>
    <dgm:cxn modelId="{2AE44A08-FA81-446E-AD64-CBEE40059853}" type="presParOf" srcId="{9BB4A022-7BE9-4D96-9DCD-74C58E8AC746}" destId="{0929419D-D828-4EB1-BE85-545FAC75147D}" srcOrd="1" destOrd="0" presId="urn:microsoft.com/office/officeart/2005/8/layout/list1"/>
    <dgm:cxn modelId="{DA1AFF59-F170-4FCE-8EE7-D6D80303E4DF}" type="presParOf" srcId="{9BB4A022-7BE9-4D96-9DCD-74C58E8AC746}" destId="{4FBAF1EA-119C-4A7D-BED0-7FD2E02DC8D3}" srcOrd="2" destOrd="0" presId="urn:microsoft.com/office/officeart/2005/8/layout/list1"/>
    <dgm:cxn modelId="{EB67F23E-507A-4307-BF7F-0E35B15869C5}" type="presParOf" srcId="{9BB4A022-7BE9-4D96-9DCD-74C58E8AC746}" destId="{3F047EE5-19F6-4FFB-A6EB-10F6CB893674}" srcOrd="3" destOrd="0" presId="urn:microsoft.com/office/officeart/2005/8/layout/list1"/>
    <dgm:cxn modelId="{4712EE01-3DA0-475E-BB65-3FCC96B2A7B4}" type="presParOf" srcId="{9BB4A022-7BE9-4D96-9DCD-74C58E8AC746}" destId="{BD9540F2-B1BE-4B3B-A1A2-74B6265040F7}" srcOrd="4" destOrd="0" presId="urn:microsoft.com/office/officeart/2005/8/layout/list1"/>
    <dgm:cxn modelId="{2DC3F979-3934-4628-B43E-32E90F0808CB}" type="presParOf" srcId="{BD9540F2-B1BE-4B3B-A1A2-74B6265040F7}" destId="{2CFFDFEA-2A6E-4B3D-970A-80A69C636168}" srcOrd="0" destOrd="0" presId="urn:microsoft.com/office/officeart/2005/8/layout/list1"/>
    <dgm:cxn modelId="{7A9F9EBE-9B30-4584-9A9F-C85A53241C8B}" type="presParOf" srcId="{BD9540F2-B1BE-4B3B-A1A2-74B6265040F7}" destId="{BA975037-BE6C-4B32-8DBF-C84C73617461}" srcOrd="1" destOrd="0" presId="urn:microsoft.com/office/officeart/2005/8/layout/list1"/>
    <dgm:cxn modelId="{5BA39AC9-7AF4-4D9D-B0DC-C3D0BF2B9063}" type="presParOf" srcId="{9BB4A022-7BE9-4D96-9DCD-74C58E8AC746}" destId="{7B63C310-DF5C-4B83-921A-43B067EC887A}" srcOrd="5" destOrd="0" presId="urn:microsoft.com/office/officeart/2005/8/layout/list1"/>
    <dgm:cxn modelId="{99D0C2E7-2F58-491B-9932-1E7208347D78}" type="presParOf" srcId="{9BB4A022-7BE9-4D96-9DCD-74C58E8AC746}" destId="{148A2150-C136-4328-AEF5-922C2C3CE943}" srcOrd="6" destOrd="0" presId="urn:microsoft.com/office/officeart/2005/8/layout/list1"/>
    <dgm:cxn modelId="{A829EAF8-466D-4173-B334-E2D18A1960D1}" type="presParOf" srcId="{9BB4A022-7BE9-4D96-9DCD-74C58E8AC746}" destId="{0FC8BB4E-8250-4F46-B57E-26C6F3C17C11}" srcOrd="7" destOrd="0" presId="urn:microsoft.com/office/officeart/2005/8/layout/list1"/>
    <dgm:cxn modelId="{5CCFC5FF-A669-4D34-8A47-D78D360BE0AE}" type="presParOf" srcId="{9BB4A022-7BE9-4D96-9DCD-74C58E8AC746}" destId="{730D1FBB-F471-4D30-A724-DB54D34EC6E9}" srcOrd="8" destOrd="0" presId="urn:microsoft.com/office/officeart/2005/8/layout/list1"/>
    <dgm:cxn modelId="{640232AF-BC0C-4D8E-AF83-877ACFB00229}" type="presParOf" srcId="{730D1FBB-F471-4D30-A724-DB54D34EC6E9}" destId="{858BC837-E5A9-4C97-BB1B-4A6AFF7AC6A1}" srcOrd="0" destOrd="0" presId="urn:microsoft.com/office/officeart/2005/8/layout/list1"/>
    <dgm:cxn modelId="{EA05C169-EDC6-4ABB-94E3-21A039239B8F}" type="presParOf" srcId="{730D1FBB-F471-4D30-A724-DB54D34EC6E9}" destId="{6B6A897F-5665-48D8-ACE1-FC4B644D487D}" srcOrd="1" destOrd="0" presId="urn:microsoft.com/office/officeart/2005/8/layout/list1"/>
    <dgm:cxn modelId="{0C7EABDE-FA83-4E0C-8C54-7DE7BA5FBF0D}" type="presParOf" srcId="{9BB4A022-7BE9-4D96-9DCD-74C58E8AC746}" destId="{7140714F-DE80-44C7-8816-CA26445D9ECC}" srcOrd="9" destOrd="0" presId="urn:microsoft.com/office/officeart/2005/8/layout/list1"/>
    <dgm:cxn modelId="{C791E9A1-3CAD-4C8D-85F6-CF7FD702A94C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7BD48DDB-4253-4B07-B8EE-760CCAFD9928}" type="presOf" srcId="{EB61DA86-9B86-4759-822E-DA32F7AA073E}" destId="{135DB1F4-89C2-4733-9521-42FD5CECF10C}" srcOrd="0" destOrd="0" presId="urn:microsoft.com/office/officeart/2005/8/layout/chevron1"/>
    <dgm:cxn modelId="{B37476C4-57E8-4853-B716-D900D722D658}" type="presOf" srcId="{544A2B27-F62F-4504-85C1-82D7732CCB0A}" destId="{6B5B1B16-1D46-4D7F-892D-7D67FB436452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C2E1C02B-CD2D-4294-A24F-49BCEBC193EE}" type="presOf" srcId="{F351D095-D2C1-4F62-A18D-EFB4BA6E2AA9}" destId="{6BF66C9A-92D4-481D-A538-FD1A4E3DC0D5}" srcOrd="0" destOrd="0" presId="urn:microsoft.com/office/officeart/2005/8/layout/chevron1"/>
    <dgm:cxn modelId="{82243885-DEF4-4893-9BA4-BD1213B93D24}" type="presOf" srcId="{D14807FD-294C-4482-91EE-34C09B13669A}" destId="{BCE275B7-D1E9-4183-BABE-507E54E1C931}" srcOrd="0" destOrd="0" presId="urn:microsoft.com/office/officeart/2005/8/layout/chevron1"/>
    <dgm:cxn modelId="{7E4E8321-5F7B-421C-875B-E5860FD8E344}" type="presOf" srcId="{9C869D94-BD20-4CF6-9CAA-58E706B950F6}" destId="{0AECE453-CE2A-473C-BD27-70D00DA5B95C}" srcOrd="0" destOrd="0" presId="urn:microsoft.com/office/officeart/2005/8/layout/chevron1"/>
    <dgm:cxn modelId="{AEF9F011-340B-4B02-9BA5-9F4452F9D0A4}" type="presParOf" srcId="{0AECE453-CE2A-473C-BD27-70D00DA5B95C}" destId="{135DB1F4-89C2-4733-9521-42FD5CECF10C}" srcOrd="0" destOrd="0" presId="urn:microsoft.com/office/officeart/2005/8/layout/chevron1"/>
    <dgm:cxn modelId="{BDBBA430-83AD-48C1-BA55-0391FE2958C5}" type="presParOf" srcId="{0AECE453-CE2A-473C-BD27-70D00DA5B95C}" destId="{E1C76734-9ABE-473C-AD4C-C4BF49F91E97}" srcOrd="1" destOrd="0" presId="urn:microsoft.com/office/officeart/2005/8/layout/chevron1"/>
    <dgm:cxn modelId="{22BB0400-2BF0-4757-9CEB-E18703D1A388}" type="presParOf" srcId="{0AECE453-CE2A-473C-BD27-70D00DA5B95C}" destId="{6BF66C9A-92D4-481D-A538-FD1A4E3DC0D5}" srcOrd="2" destOrd="0" presId="urn:microsoft.com/office/officeart/2005/8/layout/chevron1"/>
    <dgm:cxn modelId="{90D72ABC-C16C-4428-9A7B-47D333BFB165}" type="presParOf" srcId="{0AECE453-CE2A-473C-BD27-70D00DA5B95C}" destId="{691CB221-7DD5-49BE-AC21-301798066F30}" srcOrd="3" destOrd="0" presId="urn:microsoft.com/office/officeart/2005/8/layout/chevron1"/>
    <dgm:cxn modelId="{60506028-4D92-4D9D-9198-5B262BBD65EC}" type="presParOf" srcId="{0AECE453-CE2A-473C-BD27-70D00DA5B95C}" destId="{6B5B1B16-1D46-4D7F-892D-7D67FB436452}" srcOrd="4" destOrd="0" presId="urn:microsoft.com/office/officeart/2005/8/layout/chevron1"/>
    <dgm:cxn modelId="{C8CA94B7-6065-4291-804D-7AA50B77FA92}" type="presParOf" srcId="{0AECE453-CE2A-473C-BD27-70D00DA5B95C}" destId="{E20E6850-4B52-4A6E-A4B6-B5AE207EA15E}" srcOrd="5" destOrd="0" presId="urn:microsoft.com/office/officeart/2005/8/layout/chevron1"/>
    <dgm:cxn modelId="{CDB31BBB-A1A0-47E5-97E6-FDD8264D9AFC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erson</a:t>
          </a:r>
          <a:endParaRPr lang="de-DE" sz="1600" dirty="0">
            <a:solidFill>
              <a:schemeClr val="bg1"/>
            </a:solidFill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Education</a:t>
          </a:r>
          <a:endParaRPr lang="de-DE" sz="1600" dirty="0">
            <a:solidFill>
              <a:schemeClr val="bg1"/>
            </a:solidFill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Today</a:t>
          </a:r>
          <a:endParaRPr lang="de-DE" sz="1600" dirty="0">
            <a:solidFill>
              <a:schemeClr val="bg1"/>
            </a:solidFill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Name : Oliver Klippel</a:t>
          </a:r>
          <a:endParaRPr lang="de-DE" dirty="0">
            <a:solidFill>
              <a:schemeClr val="tx1"/>
            </a:solidFill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ge : 23</a:t>
          </a:r>
          <a:endParaRPr lang="de-DE" dirty="0">
            <a:solidFill>
              <a:schemeClr val="tx1"/>
            </a:solidFill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rom : Berlin</a:t>
          </a:r>
          <a:endParaRPr lang="de-DE" dirty="0">
            <a:solidFill>
              <a:schemeClr val="tx1"/>
            </a:solidFill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bitur</a:t>
          </a:r>
          <a:endParaRPr lang="de-DE" dirty="0">
            <a:solidFill>
              <a:schemeClr val="tx1"/>
            </a:solidFill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Vocation : IT specialist for systemintegration</a:t>
          </a:r>
          <a:endParaRPr lang="de-DE" dirty="0">
            <a:solidFill>
              <a:schemeClr val="tx1"/>
            </a:solidFill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>
            <a:solidFill>
              <a:schemeClr val="tx1"/>
            </a:solidFill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pprenticeship until 2018</a:t>
          </a:r>
          <a:endParaRPr lang="de-DE" dirty="0">
            <a:solidFill>
              <a:schemeClr val="tx1"/>
            </a:solidFill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1AD24BB1-192C-41B0-9BBD-7C852060A32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1 semester computer science &amp; 1 semester media computer science </a:t>
          </a:r>
          <a:endParaRPr lang="de-DE" dirty="0">
            <a:solidFill>
              <a:schemeClr val="tx1"/>
            </a:solidFill>
          </a:endParaRPr>
        </a:p>
      </dgm:t>
    </dgm:pt>
    <dgm:pt modelId="{2135ABE8-DB13-4E71-A77A-D9A7DC2C3221}" type="parTrans" cxnId="{CBF79C02-385B-44CC-9FC8-DD6014A0A158}">
      <dgm:prSet/>
      <dgm:spPr/>
      <dgm:t>
        <a:bodyPr/>
        <a:lstStyle/>
        <a:p>
          <a:endParaRPr lang="de-DE"/>
        </a:p>
      </dgm:t>
    </dgm:pt>
    <dgm:pt modelId="{73304F28-F177-42F5-B1D8-382343E265ED}" type="sibTrans" cxnId="{CBF79C02-385B-44CC-9FC8-DD6014A0A158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1860080-8133-42DC-A588-2C7C89D4F01C}" type="presOf" srcId="{3CDAD735-0FA4-4F18-A4FF-BF26A4239D57}" destId="{4FBAF1EA-119C-4A7D-BED0-7FD2E02DC8D3}" srcOrd="0" destOrd="2" presId="urn:microsoft.com/office/officeart/2005/8/layout/list1"/>
    <dgm:cxn modelId="{C3A59182-C0DD-4E5F-8307-06B8AD8FFD61}" type="presOf" srcId="{4025DB9A-0ED1-4F00-BB3A-1E38CF3525C6}" destId="{BA975037-BE6C-4B32-8DBF-C84C73617461}" srcOrd="1" destOrd="0" presId="urn:microsoft.com/office/officeart/2005/8/layout/list1"/>
    <dgm:cxn modelId="{DE959DEE-65E7-4747-8163-464AEB1DB585}" type="presOf" srcId="{4025DB9A-0ED1-4F00-BB3A-1E38CF3525C6}" destId="{2CFFDFEA-2A6E-4B3D-970A-80A69C636168}" srcOrd="0" destOrd="0" presId="urn:microsoft.com/office/officeart/2005/8/layout/list1"/>
    <dgm:cxn modelId="{3A0D8CC2-7B66-4E1B-B19B-A24853696060}" type="presOf" srcId="{3C07000C-9F24-45B6-AE25-D54ADF954BCD}" destId="{9BB4A022-7BE9-4D96-9DCD-74C58E8AC746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B5C38476-00D7-4B03-8DF7-17CBB0CACBE4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F96009A0-DAE2-4FC2-834E-2B7CB24D2061}" type="presOf" srcId="{4EAC3585-C35B-475B-A0B4-C56466A81D68}" destId="{148A2150-C136-4328-AEF5-922C2C3CE943}" srcOrd="0" destOrd="2" presId="urn:microsoft.com/office/officeart/2005/8/layout/list1"/>
    <dgm:cxn modelId="{05E9775B-DAA5-48BB-ABDA-03232087629E}" type="presOf" srcId="{2145B9AC-3DB4-49BD-8B9D-67935175CE51}" destId="{6B6A897F-5665-48D8-ACE1-FC4B644D487D}" srcOrd="1" destOrd="0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22DE5C3B-3471-4585-95A8-2DE87E12E9DE}" type="presOf" srcId="{1AD24BB1-192C-41B0-9BBD-7C852060A328}" destId="{148A2150-C136-4328-AEF5-922C2C3CE943}" srcOrd="0" destOrd="1" presId="urn:microsoft.com/office/officeart/2005/8/layout/list1"/>
    <dgm:cxn modelId="{DB5B0672-5D8D-470D-BC78-C4EF18BD2D8C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3CEEF903-F00D-4FF7-8DF2-641D902F055E}" type="presOf" srcId="{601AD484-C774-4133-8EDD-E25DC144CF18}" destId="{1D380A2A-1436-4BC6-9682-4A6F1756B36A}" srcOrd="0" destOrd="0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E0588B8-57AD-43C2-B0DA-1227F66E004B}" type="presOf" srcId="{54518278-5A2B-46A8-AB9B-56E9194056B6}" destId="{148A2150-C136-4328-AEF5-922C2C3CE943}" srcOrd="0" destOrd="0" presId="urn:microsoft.com/office/officeart/2005/8/layout/list1"/>
    <dgm:cxn modelId="{CBF79C02-385B-44CC-9FC8-DD6014A0A158}" srcId="{4025DB9A-0ED1-4F00-BB3A-1E38CF3525C6}" destId="{1AD24BB1-192C-41B0-9BBD-7C852060A328}" srcOrd="1" destOrd="0" parTransId="{2135ABE8-DB13-4E71-A77A-D9A7DC2C3221}" sibTransId="{73304F28-F177-42F5-B1D8-382343E265ED}"/>
    <dgm:cxn modelId="{4956D7F9-5DEE-4180-8112-5AC323445473}" type="presOf" srcId="{8C253FF5-4B38-46AA-9604-5740D538721B}" destId="{0C7FECAC-14A2-4CFA-A84E-D34ECF27687B}" srcOrd="0" destOrd="0" presId="urn:microsoft.com/office/officeart/2005/8/layout/list1"/>
    <dgm:cxn modelId="{18C12850-DB3E-410F-B719-AF8678AED47B}" type="presOf" srcId="{F2B4C515-55AA-47D4-9B31-B9AE1EADBD52}" destId="{1D380A2A-1436-4BC6-9682-4A6F1756B36A}" srcOrd="0" destOrd="2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578B405C-7632-49FA-8636-CF7CAA3DCE42}" type="presOf" srcId="{7568D8BD-3F6A-43A9-8AAE-FAA6DFA2E7E3}" destId="{4FBAF1EA-119C-4A7D-BED0-7FD2E02DC8D3}" srcOrd="0" destOrd="1" presId="urn:microsoft.com/office/officeart/2005/8/layout/list1"/>
    <dgm:cxn modelId="{A0A4DF29-DD50-44B3-A38C-96E7A9AB74D3}" type="presOf" srcId="{69659624-A646-42E4-A835-F1EBBBD9138B}" destId="{4FBAF1EA-119C-4A7D-BED0-7FD2E02DC8D3}" srcOrd="0" destOrd="0" presId="urn:microsoft.com/office/officeart/2005/8/layout/list1"/>
    <dgm:cxn modelId="{6D3E5496-A31F-40AB-9DB4-C9E45657ADA9}" type="presOf" srcId="{2145B9AC-3DB4-49BD-8B9D-67935175CE51}" destId="{858BC837-E5A9-4C97-BB1B-4A6AFF7AC6A1}" srcOrd="0" destOrd="0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CDFD2526-65E1-4D09-8A83-14271FB64B25}" type="presParOf" srcId="{9BB4A022-7BE9-4D96-9DCD-74C58E8AC746}" destId="{214F8A8D-5B2A-4C46-8AEB-8645900EAAFC}" srcOrd="0" destOrd="0" presId="urn:microsoft.com/office/officeart/2005/8/layout/list1"/>
    <dgm:cxn modelId="{9979EF2B-2E74-4A1A-ADDB-AE0F745DEA5E}" type="presParOf" srcId="{214F8A8D-5B2A-4C46-8AEB-8645900EAAFC}" destId="{0C7FECAC-14A2-4CFA-A84E-D34ECF27687B}" srcOrd="0" destOrd="0" presId="urn:microsoft.com/office/officeart/2005/8/layout/list1"/>
    <dgm:cxn modelId="{4E1F44F3-5E77-409D-89DD-89C2053DE5A5}" type="presParOf" srcId="{214F8A8D-5B2A-4C46-8AEB-8645900EAAFC}" destId="{36EDF564-50E4-47F9-8DB5-BE5E735EFF0D}" srcOrd="1" destOrd="0" presId="urn:microsoft.com/office/officeart/2005/8/layout/list1"/>
    <dgm:cxn modelId="{D440978A-82C0-4800-B316-3D42F4A5484D}" type="presParOf" srcId="{9BB4A022-7BE9-4D96-9DCD-74C58E8AC746}" destId="{0929419D-D828-4EB1-BE85-545FAC75147D}" srcOrd="1" destOrd="0" presId="urn:microsoft.com/office/officeart/2005/8/layout/list1"/>
    <dgm:cxn modelId="{B135BFD8-CCF4-4E89-B4AF-4720F383C7BF}" type="presParOf" srcId="{9BB4A022-7BE9-4D96-9DCD-74C58E8AC746}" destId="{4FBAF1EA-119C-4A7D-BED0-7FD2E02DC8D3}" srcOrd="2" destOrd="0" presId="urn:microsoft.com/office/officeart/2005/8/layout/list1"/>
    <dgm:cxn modelId="{63031305-F335-4DBA-A407-6AEB3A995165}" type="presParOf" srcId="{9BB4A022-7BE9-4D96-9DCD-74C58E8AC746}" destId="{3F047EE5-19F6-4FFB-A6EB-10F6CB893674}" srcOrd="3" destOrd="0" presId="urn:microsoft.com/office/officeart/2005/8/layout/list1"/>
    <dgm:cxn modelId="{D13C5BF0-A6C9-43C2-9F71-F6CD8CD6986F}" type="presParOf" srcId="{9BB4A022-7BE9-4D96-9DCD-74C58E8AC746}" destId="{BD9540F2-B1BE-4B3B-A1A2-74B6265040F7}" srcOrd="4" destOrd="0" presId="urn:microsoft.com/office/officeart/2005/8/layout/list1"/>
    <dgm:cxn modelId="{2C5DC051-3840-44C0-8BCD-97CF861B7DF2}" type="presParOf" srcId="{BD9540F2-B1BE-4B3B-A1A2-74B6265040F7}" destId="{2CFFDFEA-2A6E-4B3D-970A-80A69C636168}" srcOrd="0" destOrd="0" presId="urn:microsoft.com/office/officeart/2005/8/layout/list1"/>
    <dgm:cxn modelId="{FE88A4D3-CDA3-485D-8BB9-DCAB9F9BDCE6}" type="presParOf" srcId="{BD9540F2-B1BE-4B3B-A1A2-74B6265040F7}" destId="{BA975037-BE6C-4B32-8DBF-C84C73617461}" srcOrd="1" destOrd="0" presId="urn:microsoft.com/office/officeart/2005/8/layout/list1"/>
    <dgm:cxn modelId="{EDA57FD8-7510-44D9-ADFD-C837B22A90E6}" type="presParOf" srcId="{9BB4A022-7BE9-4D96-9DCD-74C58E8AC746}" destId="{7B63C310-DF5C-4B83-921A-43B067EC887A}" srcOrd="5" destOrd="0" presId="urn:microsoft.com/office/officeart/2005/8/layout/list1"/>
    <dgm:cxn modelId="{0171FB97-7FF4-4BAD-A150-5F9C442776D5}" type="presParOf" srcId="{9BB4A022-7BE9-4D96-9DCD-74C58E8AC746}" destId="{148A2150-C136-4328-AEF5-922C2C3CE943}" srcOrd="6" destOrd="0" presId="urn:microsoft.com/office/officeart/2005/8/layout/list1"/>
    <dgm:cxn modelId="{8380D982-15C2-4B0A-9572-F16E5DD5E8C8}" type="presParOf" srcId="{9BB4A022-7BE9-4D96-9DCD-74C58E8AC746}" destId="{0FC8BB4E-8250-4F46-B57E-26C6F3C17C11}" srcOrd="7" destOrd="0" presId="urn:microsoft.com/office/officeart/2005/8/layout/list1"/>
    <dgm:cxn modelId="{63B060FA-9AD1-4A46-AFB6-EBC9E06EA83D}" type="presParOf" srcId="{9BB4A022-7BE9-4D96-9DCD-74C58E8AC746}" destId="{730D1FBB-F471-4D30-A724-DB54D34EC6E9}" srcOrd="8" destOrd="0" presId="urn:microsoft.com/office/officeart/2005/8/layout/list1"/>
    <dgm:cxn modelId="{FB0B0983-9E07-4CBE-BE81-F53CE9BB5101}" type="presParOf" srcId="{730D1FBB-F471-4D30-A724-DB54D34EC6E9}" destId="{858BC837-E5A9-4C97-BB1B-4A6AFF7AC6A1}" srcOrd="0" destOrd="0" presId="urn:microsoft.com/office/officeart/2005/8/layout/list1"/>
    <dgm:cxn modelId="{4DD807F4-3AAB-4284-AA3A-60B1C8D9C4E0}" type="presParOf" srcId="{730D1FBB-F471-4D30-A724-DB54D34EC6E9}" destId="{6B6A897F-5665-48D8-ACE1-FC4B644D487D}" srcOrd="1" destOrd="0" presId="urn:microsoft.com/office/officeart/2005/8/layout/list1"/>
    <dgm:cxn modelId="{1611B99D-07E2-4C33-B14F-256BBBC1A064}" type="presParOf" srcId="{9BB4A022-7BE9-4D96-9DCD-74C58E8AC746}" destId="{7140714F-DE80-44C7-8816-CA26445D9ECC}" srcOrd="9" destOrd="0" presId="urn:microsoft.com/office/officeart/2005/8/layout/list1"/>
    <dgm:cxn modelId="{17FB53D3-413B-494F-A858-FFB0638EB863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A143AD0D-567A-424E-A9B7-B4E3762FCB79}" type="presOf" srcId="{9C869D94-BD20-4CF6-9CAA-58E706B950F6}" destId="{0AECE453-CE2A-473C-BD27-70D00DA5B95C}" srcOrd="0" destOrd="0" presId="urn:microsoft.com/office/officeart/2005/8/layout/chevron1"/>
    <dgm:cxn modelId="{7E9777B5-C06D-442C-B6D6-7DE816D901E8}" type="presOf" srcId="{544A2B27-F62F-4504-85C1-82D7732CCB0A}" destId="{6B5B1B16-1D46-4D7F-892D-7D67FB436452}" srcOrd="0" destOrd="0" presId="urn:microsoft.com/office/officeart/2005/8/layout/chevron1"/>
    <dgm:cxn modelId="{4D3F945D-855F-4D0E-8781-6D0082BF286B}" type="presOf" srcId="{F351D095-D2C1-4F62-A18D-EFB4BA6E2AA9}" destId="{6BF66C9A-92D4-481D-A538-FD1A4E3DC0D5}" srcOrd="0" destOrd="0" presId="urn:microsoft.com/office/officeart/2005/8/layout/chevron1"/>
    <dgm:cxn modelId="{626D54E0-3ED8-403B-8A92-EE324673C1C2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CC781767-25B4-4804-AD58-52E4747EC3FA}" type="presOf" srcId="{EB61DA86-9B86-4759-822E-DA32F7AA073E}" destId="{135DB1F4-89C2-4733-9521-42FD5CECF10C}" srcOrd="0" destOrd="0" presId="urn:microsoft.com/office/officeart/2005/8/layout/chevron1"/>
    <dgm:cxn modelId="{4FB2604F-1B48-4249-B397-8BBC7206F3A5}" type="presParOf" srcId="{0AECE453-CE2A-473C-BD27-70D00DA5B95C}" destId="{135DB1F4-89C2-4733-9521-42FD5CECF10C}" srcOrd="0" destOrd="0" presId="urn:microsoft.com/office/officeart/2005/8/layout/chevron1"/>
    <dgm:cxn modelId="{2975F9C0-2327-43AA-B9A8-3B9CE5894475}" type="presParOf" srcId="{0AECE453-CE2A-473C-BD27-70D00DA5B95C}" destId="{E1C76734-9ABE-473C-AD4C-C4BF49F91E97}" srcOrd="1" destOrd="0" presId="urn:microsoft.com/office/officeart/2005/8/layout/chevron1"/>
    <dgm:cxn modelId="{566F9869-E266-4952-BAC4-662A8445DC6E}" type="presParOf" srcId="{0AECE453-CE2A-473C-BD27-70D00DA5B95C}" destId="{6BF66C9A-92D4-481D-A538-FD1A4E3DC0D5}" srcOrd="2" destOrd="0" presId="urn:microsoft.com/office/officeart/2005/8/layout/chevron1"/>
    <dgm:cxn modelId="{278B7E39-4D0E-445E-BFE4-1E65F47003BA}" type="presParOf" srcId="{0AECE453-CE2A-473C-BD27-70D00DA5B95C}" destId="{691CB221-7DD5-49BE-AC21-301798066F30}" srcOrd="3" destOrd="0" presId="urn:microsoft.com/office/officeart/2005/8/layout/chevron1"/>
    <dgm:cxn modelId="{4BDEF530-C756-45C0-A4D5-5820B6E0245C}" type="presParOf" srcId="{0AECE453-CE2A-473C-BD27-70D00DA5B95C}" destId="{6B5B1B16-1D46-4D7F-892D-7D67FB436452}" srcOrd="4" destOrd="0" presId="urn:microsoft.com/office/officeart/2005/8/layout/chevron1"/>
    <dgm:cxn modelId="{1E56B46D-E19F-40BB-9D6B-45D9563D47ED}" type="presParOf" srcId="{0AECE453-CE2A-473C-BD27-70D00DA5B95C}" destId="{E20E6850-4B52-4A6E-A4B6-B5AE207EA15E}" srcOrd="5" destOrd="0" presId="urn:microsoft.com/office/officeart/2005/8/layout/chevron1"/>
    <dgm:cxn modelId="{12096015-32B2-4159-A265-11B9AFB23C9E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C8F8DB4-BCD9-4615-8385-1D3472B2E4F3}" type="presOf" srcId="{D14807FD-294C-4482-91EE-34C09B13669A}" destId="{BCE275B7-D1E9-4183-BABE-507E54E1C931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7888CA46-11B6-4D63-A8F8-29430E5DD5E4}" type="presOf" srcId="{F351D095-D2C1-4F62-A18D-EFB4BA6E2AA9}" destId="{6BF66C9A-92D4-481D-A538-FD1A4E3DC0D5}" srcOrd="0" destOrd="0" presId="urn:microsoft.com/office/officeart/2005/8/layout/chevron1"/>
    <dgm:cxn modelId="{FCE2A699-114B-4F48-BFC5-A32E35DF86BD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51B5D096-B112-499A-A54B-E38BE9A0627B}" type="presOf" srcId="{544A2B27-F62F-4504-85C1-82D7732CCB0A}" destId="{6B5B1B16-1D46-4D7F-892D-7D67FB436452}" srcOrd="0" destOrd="0" presId="urn:microsoft.com/office/officeart/2005/8/layout/chevron1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4100D793-FA05-43A9-A3AF-563AD6D59A79}" type="presOf" srcId="{EB61DA86-9B86-4759-822E-DA32F7AA073E}" destId="{135DB1F4-89C2-4733-9521-42FD5CECF10C}" srcOrd="0" destOrd="0" presId="urn:microsoft.com/office/officeart/2005/8/layout/chevron1"/>
    <dgm:cxn modelId="{BA9855BA-74AD-4CD6-823B-636DD8190AEA}" type="presParOf" srcId="{0AECE453-CE2A-473C-BD27-70D00DA5B95C}" destId="{135DB1F4-89C2-4733-9521-42FD5CECF10C}" srcOrd="0" destOrd="0" presId="urn:microsoft.com/office/officeart/2005/8/layout/chevron1"/>
    <dgm:cxn modelId="{C725BE56-56C4-47E8-AFB0-ED5ACCE2FE07}" type="presParOf" srcId="{0AECE453-CE2A-473C-BD27-70D00DA5B95C}" destId="{E1C76734-9ABE-473C-AD4C-C4BF49F91E97}" srcOrd="1" destOrd="0" presId="urn:microsoft.com/office/officeart/2005/8/layout/chevron1"/>
    <dgm:cxn modelId="{6A7522CA-56EF-4DBD-B439-1C40526B8B7B}" type="presParOf" srcId="{0AECE453-CE2A-473C-BD27-70D00DA5B95C}" destId="{6BF66C9A-92D4-481D-A538-FD1A4E3DC0D5}" srcOrd="2" destOrd="0" presId="urn:microsoft.com/office/officeart/2005/8/layout/chevron1"/>
    <dgm:cxn modelId="{6A29DCB8-316D-4B36-80B7-93702032AFFE}" type="presParOf" srcId="{0AECE453-CE2A-473C-BD27-70D00DA5B95C}" destId="{691CB221-7DD5-49BE-AC21-301798066F30}" srcOrd="3" destOrd="0" presId="urn:microsoft.com/office/officeart/2005/8/layout/chevron1"/>
    <dgm:cxn modelId="{490B64B4-8FFF-4D55-95B0-1722BC5EAF12}" type="presParOf" srcId="{0AECE453-CE2A-473C-BD27-70D00DA5B95C}" destId="{6B5B1B16-1D46-4D7F-892D-7D67FB436452}" srcOrd="4" destOrd="0" presId="urn:microsoft.com/office/officeart/2005/8/layout/chevron1"/>
    <dgm:cxn modelId="{DF36F7E3-1322-4068-BEDC-35C7C12D6C83}" type="presParOf" srcId="{0AECE453-CE2A-473C-BD27-70D00DA5B95C}" destId="{E20E6850-4B52-4A6E-A4B6-B5AE207EA15E}" srcOrd="5" destOrd="0" presId="urn:microsoft.com/office/officeart/2005/8/layout/chevron1"/>
    <dgm:cxn modelId="{491FFF50-AB2B-439B-A7BC-0ABE3B1998C0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45E31C6-6850-4FDD-BAB0-50E35C94C46E}">
      <dsp:nvSpPr>
        <dsp:cNvPr id="0" name=""/>
        <dsp:cNvSpPr/>
      </dsp:nvSpPr>
      <dsp:spPr>
        <a:xfrm>
          <a:off x="2136296" y="1444530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2353964" y="1487798"/>
        <a:ext cx="24522" cy="4904"/>
      </dsp:txXfrm>
    </dsp:sp>
    <dsp:sp modelId="{6031514D-EA9E-4EF4-85F7-3C6A74196969}">
      <dsp:nvSpPr>
        <dsp:cNvPr id="0" name=""/>
        <dsp:cNvSpPr/>
      </dsp:nvSpPr>
      <dsp:spPr>
        <a:xfrm>
          <a:off x="5664" y="850520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Get An Overview</a:t>
          </a:r>
          <a:endParaRPr lang="de-DE" sz="2900" kern="1200" dirty="0"/>
        </a:p>
      </dsp:txBody>
      <dsp:txXfrm>
        <a:off x="5664" y="850520"/>
        <a:ext cx="2132431" cy="1279458"/>
      </dsp:txXfrm>
    </dsp:sp>
    <dsp:sp modelId="{E308D8D5-E38F-4A9D-9D1A-9015B5567D72}">
      <dsp:nvSpPr>
        <dsp:cNvPr id="0" name=""/>
        <dsp:cNvSpPr/>
      </dsp:nvSpPr>
      <dsp:spPr>
        <a:xfrm>
          <a:off x="4759187" y="1444530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4976855" y="1487798"/>
        <a:ext cx="24522" cy="4904"/>
      </dsp:txXfrm>
    </dsp:sp>
    <dsp:sp modelId="{13459AEB-C7B5-4B38-80A7-C9867B3EB642}">
      <dsp:nvSpPr>
        <dsp:cNvPr id="0" name=""/>
        <dsp:cNvSpPr/>
      </dsp:nvSpPr>
      <dsp:spPr>
        <a:xfrm>
          <a:off x="2628555" y="850520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DevStack As Testplatform</a:t>
          </a:r>
          <a:endParaRPr lang="de-DE" sz="2900" kern="1200" dirty="0"/>
        </a:p>
      </dsp:txBody>
      <dsp:txXfrm>
        <a:off x="2628555" y="850520"/>
        <a:ext cx="2132431" cy="1279458"/>
      </dsp:txXfrm>
    </dsp:sp>
    <dsp:sp modelId="{BC2709E5-B21A-451B-9FA3-4F70E2E5BFB1}">
      <dsp:nvSpPr>
        <dsp:cNvPr id="0" name=""/>
        <dsp:cNvSpPr/>
      </dsp:nvSpPr>
      <dsp:spPr>
        <a:xfrm>
          <a:off x="1071880" y="2128179"/>
          <a:ext cx="5245781" cy="459859"/>
        </a:xfrm>
        <a:custGeom>
          <a:avLst/>
          <a:gdLst/>
          <a:ahLst/>
          <a:cxnLst/>
          <a:rect l="0" t="0" r="0" b="0"/>
          <a:pathLst>
            <a:path>
              <a:moveTo>
                <a:pt x="5245781" y="0"/>
              </a:moveTo>
              <a:lnTo>
                <a:pt x="5245781" y="247029"/>
              </a:lnTo>
              <a:lnTo>
                <a:pt x="0" y="247029"/>
              </a:lnTo>
              <a:lnTo>
                <a:pt x="0" y="459859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3563055" y="2355657"/>
        <a:ext cx="263432" cy="4904"/>
      </dsp:txXfrm>
    </dsp:sp>
    <dsp:sp modelId="{8EDD94B1-7527-400A-BF72-5A0A9D075471}">
      <dsp:nvSpPr>
        <dsp:cNvPr id="0" name=""/>
        <dsp:cNvSpPr/>
      </dsp:nvSpPr>
      <dsp:spPr>
        <a:xfrm>
          <a:off x="5251446" y="850520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Setting up DevStack</a:t>
          </a:r>
          <a:endParaRPr lang="de-DE" sz="2900" kern="1200" dirty="0"/>
        </a:p>
      </dsp:txBody>
      <dsp:txXfrm>
        <a:off x="5251446" y="850520"/>
        <a:ext cx="2132431" cy="1279458"/>
      </dsp:txXfrm>
    </dsp:sp>
    <dsp:sp modelId="{7B9E48F2-E3EE-46B1-81D6-C925E0C39611}">
      <dsp:nvSpPr>
        <dsp:cNvPr id="0" name=""/>
        <dsp:cNvSpPr/>
      </dsp:nvSpPr>
      <dsp:spPr>
        <a:xfrm>
          <a:off x="2136296" y="3214448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2353964" y="3257716"/>
        <a:ext cx="24522" cy="4904"/>
      </dsp:txXfrm>
    </dsp:sp>
    <dsp:sp modelId="{CE03B5CE-F3B0-4A17-9638-C582A1BB8AC4}">
      <dsp:nvSpPr>
        <dsp:cNvPr id="0" name=""/>
        <dsp:cNvSpPr/>
      </dsp:nvSpPr>
      <dsp:spPr>
        <a:xfrm>
          <a:off x="5664" y="2620439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Create Tenant</a:t>
          </a:r>
        </a:p>
      </dsp:txBody>
      <dsp:txXfrm>
        <a:off x="5664" y="2620439"/>
        <a:ext cx="2132431" cy="1279458"/>
      </dsp:txXfrm>
    </dsp:sp>
    <dsp:sp modelId="{BDCB6C76-0C40-42F5-B0EF-FB12DF684CD1}">
      <dsp:nvSpPr>
        <dsp:cNvPr id="0" name=""/>
        <dsp:cNvSpPr/>
      </dsp:nvSpPr>
      <dsp:spPr>
        <a:xfrm>
          <a:off x="4759187" y="3214448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4976855" y="3257716"/>
        <a:ext cx="24522" cy="4904"/>
      </dsp:txXfrm>
    </dsp:sp>
    <dsp:sp modelId="{E16655F4-9D8B-458E-BE79-35E88E622DDB}">
      <dsp:nvSpPr>
        <dsp:cNvPr id="0" name=""/>
        <dsp:cNvSpPr/>
      </dsp:nvSpPr>
      <dsp:spPr>
        <a:xfrm>
          <a:off x="2628555" y="2620439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Automatic Rollout</a:t>
          </a:r>
          <a:endParaRPr lang="de-DE" sz="2900" kern="1200" dirty="0"/>
        </a:p>
      </dsp:txBody>
      <dsp:txXfrm>
        <a:off x="2628555" y="2620439"/>
        <a:ext cx="2132431" cy="1279458"/>
      </dsp:txXfrm>
    </dsp:sp>
    <dsp:sp modelId="{E896A7BE-2FA2-4FC1-B447-31BB37B68D5E}">
      <dsp:nvSpPr>
        <dsp:cNvPr id="0" name=""/>
        <dsp:cNvSpPr/>
      </dsp:nvSpPr>
      <dsp:spPr>
        <a:xfrm>
          <a:off x="5251446" y="2620439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Install Wordpress</a:t>
          </a:r>
          <a:endParaRPr lang="de-DE" sz="2900" kern="1200" dirty="0"/>
        </a:p>
      </dsp:txBody>
      <dsp:txXfrm>
        <a:off x="5251446" y="2620439"/>
        <a:ext cx="2132431" cy="1279458"/>
      </dsp:txXfrm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94570A6-624E-4647-99B4-6200FB81373D}">
      <dsp:nvSpPr>
        <dsp:cNvPr id="0" name=""/>
        <dsp:cNvSpPr/>
      </dsp:nvSpPr>
      <dsp:spPr>
        <a:xfrm rot="16200000">
          <a:off x="439857" y="-439857"/>
          <a:ext cx="2196459" cy="3076175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2496" tIns="412496" rIns="412496" bIns="412496" numCol="1" spcCol="1270" anchor="ctr" anchorCtr="0">
          <a:noAutofit/>
        </a:bodyPr>
        <a:lstStyle/>
        <a:p>
          <a:pPr lvl="0" algn="ctr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800" kern="1200" dirty="0"/>
        </a:p>
      </dsp:txBody>
      <dsp:txXfrm rot="16200000">
        <a:off x="714415" y="-714415"/>
        <a:ext cx="1647344" cy="3076175"/>
      </dsp:txXfrm>
    </dsp:sp>
    <dsp:sp modelId="{6366065D-0F5C-4109-8B1D-4C58D64EB1DD}">
      <dsp:nvSpPr>
        <dsp:cNvPr id="0" name=""/>
        <dsp:cNvSpPr/>
      </dsp:nvSpPr>
      <dsp:spPr>
        <a:xfrm>
          <a:off x="3076175" y="0"/>
          <a:ext cx="3076175" cy="2196459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2400" kern="1200" dirty="0">
            <a:latin typeface="Tele-GroteskHal" pitchFamily="2" charset="0"/>
          </a:endParaRPr>
        </a:p>
      </dsp:txBody>
      <dsp:txXfrm>
        <a:off x="3076175" y="0"/>
        <a:ext cx="3076175" cy="1647344"/>
      </dsp:txXfrm>
    </dsp:sp>
    <dsp:sp modelId="{62A83927-BD7C-46FF-8527-D4B59C3E881F}">
      <dsp:nvSpPr>
        <dsp:cNvPr id="0" name=""/>
        <dsp:cNvSpPr/>
      </dsp:nvSpPr>
      <dsp:spPr>
        <a:xfrm rot="10800000">
          <a:off x="0" y="2196459"/>
          <a:ext cx="3076175" cy="2196459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2400" kern="1200" dirty="0">
            <a:latin typeface="Tele-GroteskHal" pitchFamily="2" charset="0"/>
            <a:cs typeface="Arial" pitchFamily="34" charset="0"/>
          </a:endParaRPr>
        </a:p>
      </dsp:txBody>
      <dsp:txXfrm rot="10800000">
        <a:off x="0" y="2745574"/>
        <a:ext cx="3076175" cy="1647344"/>
      </dsp:txXfrm>
    </dsp:sp>
    <dsp:sp modelId="{2681E340-BC23-49F2-8282-021B779DAD63}">
      <dsp:nvSpPr>
        <dsp:cNvPr id="0" name=""/>
        <dsp:cNvSpPr/>
      </dsp:nvSpPr>
      <dsp:spPr>
        <a:xfrm rot="5400000">
          <a:off x="3516032" y="1756601"/>
          <a:ext cx="2196459" cy="3076175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2496" tIns="412496" rIns="412496" bIns="412496" numCol="1" spcCol="1270" anchor="ctr" anchorCtr="0">
          <a:noAutofit/>
        </a:bodyPr>
        <a:lstStyle/>
        <a:p>
          <a:pPr lvl="0" algn="ctr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800" kern="1200" dirty="0"/>
        </a:p>
      </dsp:txBody>
      <dsp:txXfrm rot="5400000">
        <a:off x="3790590" y="2031159"/>
        <a:ext cx="1647344" cy="3076175"/>
      </dsp:txXfrm>
    </dsp:sp>
    <dsp:sp modelId="{A1E1233F-6405-4070-9D0C-9D6D06009224}">
      <dsp:nvSpPr>
        <dsp:cNvPr id="0" name=""/>
        <dsp:cNvSpPr/>
      </dsp:nvSpPr>
      <dsp:spPr>
        <a:xfrm>
          <a:off x="2153322" y="1647344"/>
          <a:ext cx="1845705" cy="1098229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>
              <a:solidFill>
                <a:schemeClr val="bg1"/>
              </a:solidFill>
              <a:latin typeface="TeleGrotesk Headline" pitchFamily="2" charset="0"/>
            </a:rPr>
            <a:t>Our Experiences</a:t>
          </a:r>
          <a:endParaRPr lang="de-DE" sz="2000" kern="1200" dirty="0">
            <a:solidFill>
              <a:schemeClr val="bg1"/>
            </a:solidFill>
            <a:latin typeface="TeleGrotesk Headline" pitchFamily="2" charset="0"/>
          </a:endParaRPr>
        </a:p>
      </dsp:txBody>
      <dsp:txXfrm>
        <a:off x="2153322" y="1647344"/>
        <a:ext cx="1845705" cy="1098229"/>
      </dsp:txXfrm>
    </dsp:sp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48F2A67-E6E2-41D3-BBA0-9D50EB592CFC}">
      <dsp:nvSpPr>
        <dsp:cNvPr id="0" name=""/>
        <dsp:cNvSpPr/>
      </dsp:nvSpPr>
      <dsp:spPr>
        <a:xfrm rot="5400000">
          <a:off x="2708423" y="-860907"/>
          <a:ext cx="780854" cy="2916565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DevOps goals</a:t>
          </a:r>
          <a:endParaRPr lang="de-DE" sz="1600" kern="1200" dirty="0"/>
        </a:p>
      </dsp:txBody>
      <dsp:txXfrm rot="5400000">
        <a:off x="2708423" y="-860907"/>
        <a:ext cx="780854" cy="2916565"/>
      </dsp:txXfrm>
    </dsp:sp>
    <dsp:sp modelId="{E11601EB-F660-440A-AEEA-AF4CFEF139C5}">
      <dsp:nvSpPr>
        <dsp:cNvPr id="0" name=""/>
        <dsp:cNvSpPr/>
      </dsp:nvSpPr>
      <dsp:spPr>
        <a:xfrm>
          <a:off x="0" y="0"/>
          <a:ext cx="1640567" cy="119292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/>
            <a:t>Introduction</a:t>
          </a:r>
          <a:endParaRPr lang="de-DE" sz="2000" kern="1200" dirty="0"/>
        </a:p>
      </dsp:txBody>
      <dsp:txXfrm>
        <a:off x="0" y="0"/>
        <a:ext cx="1640567" cy="1192929"/>
      </dsp:txXfrm>
    </dsp:sp>
    <dsp:sp modelId="{EE9E695F-4BC6-419D-BDAC-FC9F0A0DDD23}">
      <dsp:nvSpPr>
        <dsp:cNvPr id="0" name=""/>
        <dsp:cNvSpPr/>
      </dsp:nvSpPr>
      <dsp:spPr>
        <a:xfrm rot="5400000">
          <a:off x="2496571" y="626565"/>
          <a:ext cx="1204558" cy="2916565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Features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Software Overview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Command lines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Key Terms</a:t>
          </a:r>
          <a:endParaRPr lang="de-DE" sz="1600" kern="1200" dirty="0"/>
        </a:p>
      </dsp:txBody>
      <dsp:txXfrm rot="5400000">
        <a:off x="2496571" y="626565"/>
        <a:ext cx="1204558" cy="2916565"/>
      </dsp:txXfrm>
    </dsp:sp>
    <dsp:sp modelId="{A257B72E-F754-444C-B866-6FAF8336919B}">
      <dsp:nvSpPr>
        <dsp:cNvPr id="0" name=""/>
        <dsp:cNvSpPr/>
      </dsp:nvSpPr>
      <dsp:spPr>
        <a:xfrm>
          <a:off x="0" y="1278057"/>
          <a:ext cx="1640567" cy="161358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/>
            <a:t>OpenStack</a:t>
          </a:r>
          <a:endParaRPr lang="de-DE" sz="2000" kern="1200" dirty="0"/>
        </a:p>
      </dsp:txBody>
      <dsp:txXfrm>
        <a:off x="0" y="1278057"/>
        <a:ext cx="1640567" cy="1613580"/>
      </dsp:txXfrm>
    </dsp:sp>
    <dsp:sp modelId="{7C17F7B8-EB0F-4438-9B5F-C6AF959C98AD}">
      <dsp:nvSpPr>
        <dsp:cNvPr id="0" name=""/>
        <dsp:cNvSpPr/>
      </dsp:nvSpPr>
      <dsp:spPr>
        <a:xfrm rot="5400000">
          <a:off x="2685643" y="2114779"/>
          <a:ext cx="826413" cy="2916565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Deployment</a:t>
          </a:r>
          <a:endParaRPr lang="de-DE" sz="1600" kern="1200" dirty="0"/>
        </a:p>
      </dsp:txBody>
      <dsp:txXfrm rot="5400000">
        <a:off x="2685643" y="2114779"/>
        <a:ext cx="826413" cy="2916565"/>
      </dsp:txXfrm>
    </dsp:sp>
    <dsp:sp modelId="{6F9362EE-2ECA-4FA3-A6AD-C9543318F45F}">
      <dsp:nvSpPr>
        <dsp:cNvPr id="0" name=""/>
        <dsp:cNvSpPr/>
      </dsp:nvSpPr>
      <dsp:spPr>
        <a:xfrm>
          <a:off x="0" y="2975856"/>
          <a:ext cx="1640567" cy="1194411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TelekomCLOUD</a:t>
          </a:r>
          <a:endParaRPr lang="de-DE" sz="1800" kern="1200" dirty="0"/>
        </a:p>
      </dsp:txBody>
      <dsp:txXfrm>
        <a:off x="0" y="2975856"/>
        <a:ext cx="1640567" cy="1194411"/>
      </dsp:txXfrm>
    </dsp:sp>
  </dsp:spTree>
</dsp:drawing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TelekomCLOUD + OpenStack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TelekomCLOUD + OpenStack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TelekomCLOUD + OpenStack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9D7791F-105A-4F01-86CE-28F0799E1AAF}">
      <dsp:nvSpPr>
        <dsp:cNvPr id="0" name=""/>
        <dsp:cNvSpPr/>
      </dsp:nvSpPr>
      <dsp:spPr>
        <a:xfrm>
          <a:off x="238201" y="80"/>
          <a:ext cx="6923321" cy="4127658"/>
        </a:xfrm>
        <a:prstGeom prst="rect">
          <a:avLst/>
        </a:prstGeom>
        <a:solidFill>
          <a:schemeClr val="tx1"/>
        </a:solidFill>
        <a:ln w="25400" cap="flat" cmpd="sng" algn="ctr">
          <a:solidFill>
            <a:schemeClr val="accent3">
              <a:shade val="50000"/>
            </a:schemeClr>
          </a:solidFill>
          <a:prstDash val="solid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6500" b="1" kern="1200" dirty="0" smtClean="0">
              <a:solidFill>
                <a:schemeClr val="bg1"/>
              </a:solidFill>
            </a:rPr>
            <a:t>Video coming soon !</a:t>
          </a:r>
        </a:p>
      </dsp:txBody>
      <dsp:txXfrm>
        <a:off x="238201" y="80"/>
        <a:ext cx="6923321" cy="4127658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48F2A67-E6E2-41D3-BBA0-9D50EB592CFC}">
      <dsp:nvSpPr>
        <dsp:cNvPr id="0" name=""/>
        <dsp:cNvSpPr/>
      </dsp:nvSpPr>
      <dsp:spPr>
        <a:xfrm rot="5400000">
          <a:off x="3021977" y="-1443030"/>
          <a:ext cx="747368" cy="3876547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Name : Frank Kloeker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From : Berlin</a:t>
          </a:r>
          <a:endParaRPr lang="de-DE" sz="1600" kern="1200" dirty="0"/>
        </a:p>
      </dsp:txBody>
      <dsp:txXfrm rot="5400000">
        <a:off x="3021977" y="-1443030"/>
        <a:ext cx="747368" cy="3876547"/>
      </dsp:txXfrm>
    </dsp:sp>
    <dsp:sp modelId="{E11601EB-F660-440A-AEEA-AF4CFEF139C5}">
      <dsp:nvSpPr>
        <dsp:cNvPr id="0" name=""/>
        <dsp:cNvSpPr/>
      </dsp:nvSpPr>
      <dsp:spPr>
        <a:xfrm>
          <a:off x="0" y="0"/>
          <a:ext cx="1457134" cy="98958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Person</a:t>
          </a:r>
          <a:endParaRPr lang="de-DE" sz="2400" kern="1200" dirty="0"/>
        </a:p>
      </dsp:txBody>
      <dsp:txXfrm>
        <a:off x="0" y="0"/>
        <a:ext cx="1457134" cy="989580"/>
      </dsp:txXfrm>
    </dsp:sp>
    <dsp:sp modelId="{EE9E695F-4BC6-419D-BDAC-FC9F0A0DDD23}">
      <dsp:nvSpPr>
        <dsp:cNvPr id="0" name=""/>
        <dsp:cNvSpPr/>
      </dsp:nvSpPr>
      <dsp:spPr>
        <a:xfrm rot="5400000">
          <a:off x="2787108" y="-107008"/>
          <a:ext cx="1220950" cy="3872890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27 years of experience in Operations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10 years Examiner on Chamber of Commerce and Industry </a:t>
          </a:r>
          <a:endParaRPr lang="de-DE" sz="1600" kern="1200" dirty="0"/>
        </a:p>
      </dsp:txBody>
      <dsp:txXfrm rot="5400000">
        <a:off x="2787108" y="-107008"/>
        <a:ext cx="1220950" cy="3872890"/>
      </dsp:txXfrm>
    </dsp:sp>
    <dsp:sp modelId="{A257B72E-F754-444C-B866-6FAF8336919B}">
      <dsp:nvSpPr>
        <dsp:cNvPr id="0" name=""/>
        <dsp:cNvSpPr/>
      </dsp:nvSpPr>
      <dsp:spPr>
        <a:xfrm>
          <a:off x="253" y="1066342"/>
          <a:ext cx="1460885" cy="1526188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Education</a:t>
          </a:r>
          <a:endParaRPr lang="de-DE" sz="2400" kern="1200" dirty="0"/>
        </a:p>
      </dsp:txBody>
      <dsp:txXfrm>
        <a:off x="253" y="1066342"/>
        <a:ext cx="1460885" cy="1526188"/>
      </dsp:txXfrm>
    </dsp:sp>
    <dsp:sp modelId="{7C17F7B8-EB0F-4438-9B5F-C6AF959C98AD}">
      <dsp:nvSpPr>
        <dsp:cNvPr id="0" name=""/>
        <dsp:cNvSpPr/>
      </dsp:nvSpPr>
      <dsp:spPr>
        <a:xfrm rot="5400000">
          <a:off x="2789789" y="1498434"/>
          <a:ext cx="1220950" cy="3867000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/>
            <a:t>Applicationmanagement for Cloud hosting platform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/>
            <a:t>personal point of contact for Apprentices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>
              <a:solidFill>
                <a:schemeClr val="tx1"/>
              </a:solidFill>
            </a:rPr>
            <a:t>Company : Deutsche Telekom AG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400" kern="1200" dirty="0">
            <a:solidFill>
              <a:schemeClr val="tx1"/>
            </a:solidFill>
          </a:endParaRPr>
        </a:p>
      </dsp:txBody>
      <dsp:txXfrm rot="5400000">
        <a:off x="2789789" y="1498434"/>
        <a:ext cx="1220950" cy="3867000"/>
      </dsp:txXfrm>
    </dsp:sp>
    <dsp:sp modelId="{6F9362EE-2ECA-4FA3-A6AD-C9543318F45F}">
      <dsp:nvSpPr>
        <dsp:cNvPr id="0" name=""/>
        <dsp:cNvSpPr/>
      </dsp:nvSpPr>
      <dsp:spPr>
        <a:xfrm>
          <a:off x="253" y="2668840"/>
          <a:ext cx="1466511" cy="1526188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Today</a:t>
          </a:r>
          <a:endParaRPr lang="de-DE" sz="2400" kern="1200" dirty="0"/>
        </a:p>
      </dsp:txBody>
      <dsp:txXfrm>
        <a:off x="253" y="2668840"/>
        <a:ext cx="1466511" cy="1526188"/>
      </dsp:txXfrm>
    </dsp:sp>
  </dsp:spTree>
</dsp:drawing>
</file>

<file path=ppt/diagrams/drawing2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2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41B5F1E-BE5B-4512-8FFD-930037772452}">
      <dsp:nvSpPr>
        <dsp:cNvPr id="0" name=""/>
        <dsp:cNvSpPr/>
      </dsp:nvSpPr>
      <dsp:spPr>
        <a:xfrm>
          <a:off x="0" y="1570"/>
          <a:ext cx="8253454" cy="371022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Informations</a:t>
          </a:r>
          <a:endParaRPr lang="de-DE" sz="2000" kern="1200" dirty="0">
            <a:solidFill>
              <a:schemeClr val="bg1"/>
            </a:solidFill>
          </a:endParaRPr>
        </a:p>
      </dsp:txBody>
      <dsp:txXfrm>
        <a:off x="0" y="1570"/>
        <a:ext cx="8253454" cy="371022"/>
      </dsp:txXfrm>
    </dsp:sp>
    <dsp:sp modelId="{135D980B-F227-4000-9869-2D5A8FA31B13}">
      <dsp:nvSpPr>
        <dsp:cNvPr id="0" name=""/>
        <dsp:cNvSpPr/>
      </dsp:nvSpPr>
      <dsp:spPr>
        <a:xfrm>
          <a:off x="0" y="372592"/>
          <a:ext cx="8253454" cy="10114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047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"/>
            </a:rPr>
            <a:t>https://www.openstack.org/</a:t>
          </a:r>
          <a:r>
            <a:rPr lang="de-DE" sz="1400" kern="1200" dirty="0" smtClean="0"/>
            <a:t> 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2"/>
            </a:rPr>
            <a:t>https://dzone.com/refcardz/getting-started-openstack-most</a:t>
          </a:r>
          <a:r>
            <a:rPr lang="de-DE" sz="1400" kern="1200" dirty="0" smtClean="0"/>
            <a:t> 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/>
            <a:t> </a:t>
          </a:r>
          <a:r>
            <a:rPr lang="de-DE" sz="1400" kern="1200" dirty="0" smtClean="0">
              <a:hlinkClick xmlns:r="http://schemas.openxmlformats.org/officeDocument/2006/relationships" r:id="rId3"/>
            </a:rPr>
            <a:t>http://cloud-computing-blog.eu/was-ist-jetzt-eigentlich-cloud-computing/</a:t>
          </a:r>
          <a:r>
            <a:rPr lang="de-DE" sz="1400" kern="1200" dirty="0" smtClean="0"/>
            <a:t> 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b="1" u="sng" kern="1200" dirty="0" smtClean="0"/>
            <a:t>Other Sources : </a:t>
          </a:r>
          <a:r>
            <a:rPr lang="de-DE" sz="1400" kern="1200" dirty="0" smtClean="0"/>
            <a:t>AiolosSystemDescription.pdf; Telekom Small Business Cloud_Refcard for ISVs.pdf   </a:t>
          </a:r>
          <a:endParaRPr lang="de-DE" sz="1400" kern="1200" dirty="0"/>
        </a:p>
      </dsp:txBody>
      <dsp:txXfrm>
        <a:off x="0" y="372592"/>
        <a:ext cx="8253454" cy="1011481"/>
      </dsp:txXfrm>
    </dsp:sp>
    <dsp:sp modelId="{003283A4-BBAE-49F6-A32A-13D1CE661B99}">
      <dsp:nvSpPr>
        <dsp:cNvPr id="0" name=""/>
        <dsp:cNvSpPr/>
      </dsp:nvSpPr>
      <dsp:spPr>
        <a:xfrm>
          <a:off x="0" y="1384073"/>
          <a:ext cx="8253454" cy="345202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ictures</a:t>
          </a:r>
          <a:endParaRPr lang="de-DE" sz="2800" kern="1200" dirty="0">
            <a:solidFill>
              <a:schemeClr val="bg1"/>
            </a:solidFill>
          </a:endParaRPr>
        </a:p>
      </dsp:txBody>
      <dsp:txXfrm>
        <a:off x="0" y="1384073"/>
        <a:ext cx="8253454" cy="345202"/>
      </dsp:txXfrm>
    </dsp:sp>
    <dsp:sp modelId="{BF5A6700-E73A-4C76-AB30-5E258848545C}">
      <dsp:nvSpPr>
        <dsp:cNvPr id="0" name=""/>
        <dsp:cNvSpPr/>
      </dsp:nvSpPr>
      <dsp:spPr>
        <a:xfrm>
          <a:off x="0" y="1729276"/>
          <a:ext cx="8253454" cy="26410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047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4"/>
            </a:rPr>
            <a:t>http://www.ofekcloud.com/media/images/1e7b5ca3-8b2e-4e2e-9898-5df978f0218aimage14.jpeg</a:t>
          </a:r>
          <a:r>
            <a:rPr lang="de-DE" sz="1400" kern="1200" dirty="0" smtClean="0"/>
            <a:t> </a:t>
          </a:r>
          <a:r>
            <a:rPr lang="de-DE" sz="1200" kern="1200" dirty="0" smtClean="0"/>
            <a:t>( Slide #10 CC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5"/>
            </a:rPr>
            <a:t>http://www.all-stars.de/blog/wp-content/uploads/2014/04/planung.jp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 Planning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6"/>
            </a:rPr>
            <a:t>http://www.maclife.de/ratgeber/microsoft-office-ios-jetzt-icloud-unterstuetzung-10062588.html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 Office Tools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7"/>
            </a:rPr>
            <a:t>http://yourdost.com/blog/2016/02/how-to-become-more-creative.html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 Creative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8"/>
            </a:rPr>
            <a:t>http://www.embritas.lt/project/duomenu-apdorojimo-centras/?lang=de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4 Datacenter Biere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9"/>
            </a:rPr>
            <a:t>https://www.openstack.org/brand/openstack-logo/logo-download/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,#1 OpenStack Logo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0"/>
            </a:rPr>
            <a:t>https://cloud.telekom.de/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4 TelekomCLOUD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1"/>
            </a:rPr>
            <a:t>https://gitlab.com/uploads/project/avatar/250833/runner_logo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Git Runner Logo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2"/>
            </a:rPr>
            <a:t>http://www.autotestingtools.com/devops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Deploy Logo)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3"/>
            </a:rPr>
            <a:t>https://d30y9cdsu7xlg0.cloudfront.net/png/27703-200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Developer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4"/>
            </a:rPr>
            <a:t>https://gitlab.com/uploads/project/avatar/13083/gitlab-logo-square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GitLab Logo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5"/>
            </a:rPr>
            <a:t>http://copting.de/wp-content/uploads/kreuz-rot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cross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6"/>
            </a:rPr>
            <a:t>http://copting.de/wp-content/uploads/Haken-gr%C3%BCn-284x300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hook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7"/>
            </a:rPr>
            <a:t>https://de.pinterest.com/pin/556053885218068326/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9 Background)</a:t>
          </a:r>
          <a:endParaRPr lang="de-DE" sz="1200" kern="1200" dirty="0"/>
        </a:p>
      </dsp:txBody>
      <dsp:txXfrm>
        <a:off x="0" y="1729276"/>
        <a:ext cx="8253454" cy="264105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4916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Name : Adriano Perri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ge : 23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rom : Berli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249163"/>
        <a:ext cx="7545658" cy="1184400"/>
      </dsp:txXfrm>
    </dsp:sp>
    <dsp:sp modelId="{36EDF564-50E4-47F9-8DB5-BE5E735EFF0D}">
      <dsp:nvSpPr>
        <dsp:cNvPr id="0" name=""/>
        <dsp:cNvSpPr/>
      </dsp:nvSpPr>
      <dsp:spPr>
        <a:xfrm>
          <a:off x="377282" y="1300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ers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3003"/>
        <a:ext cx="5281960" cy="472320"/>
      </dsp:txXfrm>
    </dsp:sp>
    <dsp:sp modelId="{148A2150-C136-4328-AEF5-922C2C3CE943}">
      <dsp:nvSpPr>
        <dsp:cNvPr id="0" name=""/>
        <dsp:cNvSpPr/>
      </dsp:nvSpPr>
      <dsp:spPr>
        <a:xfrm>
          <a:off x="0" y="175612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bitu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studied 2 semester geoecology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pprenticeship until 2018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1756123"/>
        <a:ext cx="7545658" cy="1184400"/>
      </dsp:txXfrm>
    </dsp:sp>
    <dsp:sp modelId="{BA975037-BE6C-4B32-8DBF-C84C73617461}">
      <dsp:nvSpPr>
        <dsp:cNvPr id="0" name=""/>
        <dsp:cNvSpPr/>
      </dsp:nvSpPr>
      <dsp:spPr>
        <a:xfrm>
          <a:off x="377282" y="151996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Educati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519963"/>
        <a:ext cx="5281960" cy="472320"/>
      </dsp:txXfrm>
    </dsp:sp>
    <dsp:sp modelId="{1D380A2A-1436-4BC6-9682-4A6F1756B36A}">
      <dsp:nvSpPr>
        <dsp:cNvPr id="0" name=""/>
        <dsp:cNvSpPr/>
      </dsp:nvSpPr>
      <dsp:spPr>
        <a:xfrm>
          <a:off x="0" y="3263084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Vocation : management assistant in IT systems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Company : Deutsche Telekom AG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3263084"/>
        <a:ext cx="7545658" cy="1184400"/>
      </dsp:txXfrm>
    </dsp:sp>
    <dsp:sp modelId="{6B6A897F-5665-48D8-ACE1-FC4B644D487D}">
      <dsp:nvSpPr>
        <dsp:cNvPr id="0" name=""/>
        <dsp:cNvSpPr/>
      </dsp:nvSpPr>
      <dsp:spPr>
        <a:xfrm>
          <a:off x="377282" y="3026924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Today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3026924"/>
        <a:ext cx="5281960" cy="47232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4916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Name : Janika Schäfe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ge : 21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rom : Berli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249163"/>
        <a:ext cx="7545658" cy="1184400"/>
      </dsp:txXfrm>
    </dsp:sp>
    <dsp:sp modelId="{36EDF564-50E4-47F9-8DB5-BE5E735EFF0D}">
      <dsp:nvSpPr>
        <dsp:cNvPr id="0" name=""/>
        <dsp:cNvSpPr/>
      </dsp:nvSpPr>
      <dsp:spPr>
        <a:xfrm>
          <a:off x="377282" y="1300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ers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3003"/>
        <a:ext cx="5281960" cy="472320"/>
      </dsp:txXfrm>
    </dsp:sp>
    <dsp:sp modelId="{148A2150-C136-4328-AEF5-922C2C3CE943}">
      <dsp:nvSpPr>
        <dsp:cNvPr id="0" name=""/>
        <dsp:cNvSpPr/>
      </dsp:nvSpPr>
      <dsp:spPr>
        <a:xfrm>
          <a:off x="0" y="175612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Vocation : IT systems technician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with Abitu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inished 2015 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1756123"/>
        <a:ext cx="7545658" cy="1184400"/>
      </dsp:txXfrm>
    </dsp:sp>
    <dsp:sp modelId="{BA975037-BE6C-4B32-8DBF-C84C73617461}">
      <dsp:nvSpPr>
        <dsp:cNvPr id="0" name=""/>
        <dsp:cNvSpPr/>
      </dsp:nvSpPr>
      <dsp:spPr>
        <a:xfrm>
          <a:off x="377282" y="151996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Educati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519963"/>
        <a:ext cx="5281960" cy="472320"/>
      </dsp:txXfrm>
    </dsp:sp>
    <dsp:sp modelId="{1D380A2A-1436-4BC6-9682-4A6F1756B36A}">
      <dsp:nvSpPr>
        <dsp:cNvPr id="0" name=""/>
        <dsp:cNvSpPr/>
      </dsp:nvSpPr>
      <dsp:spPr>
        <a:xfrm>
          <a:off x="0" y="3263084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studying : bachelor of engineering in communication &amp; media computer science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Company : Deutsche Telekom AG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3263084"/>
        <a:ext cx="7545658" cy="1184400"/>
      </dsp:txXfrm>
    </dsp:sp>
    <dsp:sp modelId="{6B6A897F-5665-48D8-ACE1-FC4B644D487D}">
      <dsp:nvSpPr>
        <dsp:cNvPr id="0" name=""/>
        <dsp:cNvSpPr/>
      </dsp:nvSpPr>
      <dsp:spPr>
        <a:xfrm>
          <a:off x="377282" y="3026924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Today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3026924"/>
        <a:ext cx="5281960" cy="47232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4916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Name : Oliver Klippel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ge : 23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rom : Berli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249163"/>
        <a:ext cx="7545658" cy="1184400"/>
      </dsp:txXfrm>
    </dsp:sp>
    <dsp:sp modelId="{36EDF564-50E4-47F9-8DB5-BE5E735EFF0D}">
      <dsp:nvSpPr>
        <dsp:cNvPr id="0" name=""/>
        <dsp:cNvSpPr/>
      </dsp:nvSpPr>
      <dsp:spPr>
        <a:xfrm>
          <a:off x="377282" y="1300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ers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3003"/>
        <a:ext cx="5281960" cy="472320"/>
      </dsp:txXfrm>
    </dsp:sp>
    <dsp:sp modelId="{148A2150-C136-4328-AEF5-922C2C3CE943}">
      <dsp:nvSpPr>
        <dsp:cNvPr id="0" name=""/>
        <dsp:cNvSpPr/>
      </dsp:nvSpPr>
      <dsp:spPr>
        <a:xfrm>
          <a:off x="0" y="175612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bitu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1 semester computer science &amp; 1 semester media computer science 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pprenticeship until 2018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1756123"/>
        <a:ext cx="7545658" cy="1184400"/>
      </dsp:txXfrm>
    </dsp:sp>
    <dsp:sp modelId="{BA975037-BE6C-4B32-8DBF-C84C73617461}">
      <dsp:nvSpPr>
        <dsp:cNvPr id="0" name=""/>
        <dsp:cNvSpPr/>
      </dsp:nvSpPr>
      <dsp:spPr>
        <a:xfrm>
          <a:off x="377282" y="151996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Educati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519963"/>
        <a:ext cx="5281960" cy="472320"/>
      </dsp:txXfrm>
    </dsp:sp>
    <dsp:sp modelId="{1D380A2A-1436-4BC6-9682-4A6F1756B36A}">
      <dsp:nvSpPr>
        <dsp:cNvPr id="0" name=""/>
        <dsp:cNvSpPr/>
      </dsp:nvSpPr>
      <dsp:spPr>
        <a:xfrm>
          <a:off x="0" y="3263084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Vocation : IT specialist for systemintegration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Company : Deutsche Telekom AG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3263084"/>
        <a:ext cx="7545658" cy="1184400"/>
      </dsp:txXfrm>
    </dsp:sp>
    <dsp:sp modelId="{6B6A897F-5665-48D8-ACE1-FC4B644D487D}">
      <dsp:nvSpPr>
        <dsp:cNvPr id="0" name=""/>
        <dsp:cNvSpPr/>
      </dsp:nvSpPr>
      <dsp:spPr>
        <a:xfrm>
          <a:off x="377282" y="3026924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Today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3026924"/>
        <a:ext cx="5281960" cy="472320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6">
  <dgm:title val=""/>
  <dgm:desc val=""/>
  <dgm:catLst>
    <dgm:cat type="3D" pri="11600"/>
  </dgm:catLst>
  <dgm:scene3d>
    <a:camera prst="perspectiveRelaxedModerately" zoom="92000"/>
    <a:lightRig rig="balanced" dir="t">
      <a:rot lat="0" lon="0" rev="12700000"/>
    </a:lightRig>
  </dgm:scene3d>
  <dgm:styleLbl name="node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5400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54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5400" prstMaterial="plastic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75000" prstMaterial="plastic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2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3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4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fgAcc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0400" extrusionH="12700" prstMaterial="plastic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77913" y="768350"/>
            <a:ext cx="4946650" cy="3711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95647" y="9670501"/>
            <a:ext cx="463970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559233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B2827797-408F-4D8D-9A52-7C4043576B32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41574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09625" y="846138"/>
            <a:ext cx="5480050" cy="4111625"/>
          </a:xfrm>
          <a:noFill/>
          <a:ln>
            <a:miter lim="800000"/>
            <a:headEnd/>
            <a:tailEnd/>
          </a:ln>
        </p:spPr>
      </p:sp>
      <p:sp>
        <p:nvSpPr>
          <p:cNvPr id="415747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65150" y="5118101"/>
            <a:ext cx="5972175" cy="4741863"/>
          </a:xfrm>
          <a:noFill/>
        </p:spPr>
        <p:txBody>
          <a:bodyPr lIns="99181" tIns="49590" rIns="99181" bIns="49590"/>
          <a:lstStyle/>
          <a:p>
            <a:pPr marL="189152" indent="-189152" defTabSz="955713"/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230276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oleObject" Target="../embeddings/oleObject8.bin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7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5.emf"/><Relationship Id="rId5" Type="http://schemas.openxmlformats.org/officeDocument/2006/relationships/tags" Target="../tags/tag15.xml"/><Relationship Id="rId10" Type="http://schemas.openxmlformats.org/officeDocument/2006/relationships/image" Target="../media/image4.jpeg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7.emf"/><Relationship Id="rId5" Type="http://schemas.openxmlformats.org/officeDocument/2006/relationships/tags" Target="../tags/tag21.xml"/><Relationship Id="rId10" Type="http://schemas.openxmlformats.org/officeDocument/2006/relationships/image" Target="../media/image5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3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8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oleObject" Target="../embeddings/oleObject5.bin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5072" name="think-cell Slide" r:id="rId7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 bwMode="black">
          <a:xfrm>
            <a:off x="304800" y="3676650"/>
            <a:ext cx="8496300" cy="328613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</a:p>
        </p:txBody>
      </p:sp>
      <p:pic>
        <p:nvPicPr>
          <p:cNvPr id="45079" name="Picture 23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/>
          <a:srcRect r="69640"/>
          <a:stretch>
            <a:fillRect/>
          </a:stretch>
        </p:blipFill>
        <p:spPr bwMode="black">
          <a:xfrm>
            <a:off x="323850" y="6137275"/>
            <a:ext cx="908050" cy="396875"/>
          </a:xfrm>
          <a:prstGeom prst="rect">
            <a:avLst/>
          </a:prstGeom>
          <a:noFill/>
        </p:spPr>
      </p:pic>
      <p:pic>
        <p:nvPicPr>
          <p:cNvPr id="45080" name="Picture 24" descr="T_Logo_3c_Slogan_n_DE_EMF CD EXPORT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/>
          <a:srcRect l="40712"/>
          <a:stretch>
            <a:fillRect/>
          </a:stretch>
        </p:blipFill>
        <p:spPr bwMode="black">
          <a:xfrm>
            <a:off x="7042150" y="6137275"/>
            <a:ext cx="1773238" cy="396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42005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74" y="1773238"/>
            <a:ext cx="41624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28A85F0-2F05-4A49-9568-A870DCFFBF8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197AF7BB-8A71-4BE1-858E-F0715F15AE0B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1E79667D-9403-4E7D-B8BF-7AD8FA3D5C06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3890" name="think-cell Slide" r:id="rId7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321467" y="1773237"/>
            <a:ext cx="8496300" cy="4575175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4914" name="think-cell Slide" r:id="rId8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5"/>
            </p:custDataLst>
          </p:nvPr>
        </p:nvSpPr>
        <p:spPr>
          <a:xfrm>
            <a:off x="304799" y="1773237"/>
            <a:ext cx="42005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>
          <a:xfrm>
            <a:off x="4638674" y="1773237"/>
            <a:ext cx="41624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7986" name="think-cell Slide" r:id="rId5" imgW="360" imgH="36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415498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40" name="Datumsplatzhalter 39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fld id="{1CEBC254-7842-4881-BFD6-96A5FD53D486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1"/>
          </p:nvPr>
        </p:nvSpPr>
        <p:spPr>
          <a:xfrm>
            <a:off x="8540750" y="6431563"/>
            <a:ext cx="288925" cy="138499"/>
          </a:xfrm>
        </p:spPr>
        <p:txBody>
          <a:bodyPr/>
          <a:lstStyle/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2" name="Fußzeilenplatzhalter 41"/>
          <p:cNvSpPr>
            <a:spLocks noGrp="1"/>
          </p:cNvSpPr>
          <p:nvPr>
            <p:ph type="ftr" sz="quarter" idx="12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 Struktu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0" y="745"/>
            <a:ext cx="9143433" cy="685651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035942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F0CD8F-C002-44AD-9563-61226BA408F8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8540750" y="6431563"/>
            <a:ext cx="2889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>
          <a:xfrm>
            <a:off x="2557463" y="6431563"/>
            <a:ext cx="4102100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6546" name="think-cell Slide" r:id="rId9" imgW="360" imgH="360" progId="">
              <p:embed/>
            </p:oleObj>
          </a:graphicData>
        </a:graphic>
      </p:graphicFrame>
      <p:pic>
        <p:nvPicPr>
          <p:cNvPr id="7" name="Picture 16" descr="musterbild_1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0"/>
          <a:srcRect b="28815"/>
          <a:stretch>
            <a:fillRect/>
          </a:stretch>
        </p:blipFill>
        <p:spPr bwMode="auto">
          <a:xfrm>
            <a:off x="319088" y="327025"/>
            <a:ext cx="8501062" cy="4033838"/>
          </a:xfrm>
          <a:prstGeom prst="rect">
            <a:avLst/>
          </a:prstGeom>
          <a:noFill/>
        </p:spPr>
      </p:pic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/>
          <a:srcRect r="63742"/>
          <a:stretch>
            <a:fillRect/>
          </a:stretch>
        </p:blipFill>
        <p:spPr bwMode="black">
          <a:xfrm>
            <a:off x="323850" y="6138863"/>
            <a:ext cx="1079500" cy="395287"/>
          </a:xfrm>
          <a:prstGeom prst="rect">
            <a:avLst/>
          </a:prstGeom>
          <a:noFill/>
        </p:spPr>
      </p:pic>
      <p:pic>
        <p:nvPicPr>
          <p:cNvPr id="10" name="Picture 30" descr="magenta_flaeche_70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12"/>
          <a:srcRect r="11" b="-468"/>
          <a:stretch>
            <a:fillRect/>
          </a:stretch>
        </p:blipFill>
        <p:spPr bwMode="ltGray">
          <a:xfrm>
            <a:off x="319088" y="3768725"/>
            <a:ext cx="8501062" cy="430213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4078287"/>
            <a:ext cx="8496300" cy="1690687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/>
          <a:srcRect l="40443"/>
          <a:stretch>
            <a:fillRect/>
          </a:stretch>
        </p:blipFill>
        <p:spPr bwMode="black">
          <a:xfrm>
            <a:off x="7043738" y="6138863"/>
            <a:ext cx="1773237" cy="395287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5158800"/>
            <a:ext cx="8496300" cy="332399"/>
          </a:xfrm>
        </p:spPr>
        <p:txBody>
          <a:bodyPr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7570" name="think-cell Slide" r:id="rId9" imgW="360" imgH="360" progId="">
              <p:embed/>
            </p:oleObj>
          </a:graphicData>
        </a:graphic>
      </p:graphicFrame>
      <p:sp>
        <p:nvSpPr>
          <p:cNvPr id="11" name="Titel 3"/>
          <p:cNvSpPr>
            <a:spLocks/>
          </p:cNvSpPr>
          <p:nvPr userDrawn="1">
            <p:custDataLst>
              <p:tags r:id="rId2"/>
            </p:custDataLst>
          </p:nvPr>
        </p:nvSpPr>
        <p:spPr bwMode="invGray">
          <a:xfrm>
            <a:off x="319088" y="4402138"/>
            <a:ext cx="8510587" cy="1366837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2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8" y="3340100"/>
            <a:ext cx="8186737" cy="242887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/>
          <a:srcRect r="63742"/>
          <a:stretch>
            <a:fillRect/>
          </a:stretch>
        </p:blipFill>
        <p:spPr bwMode="black">
          <a:xfrm>
            <a:off x="323850" y="6138863"/>
            <a:ext cx="1079500" cy="395287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3608975"/>
            <a:ext cx="7736400" cy="2160000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lnSpc>
                <a:spcPct val="90000"/>
              </a:lnSpc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/>
          <a:srcRect l="40443"/>
          <a:stretch>
            <a:fillRect/>
          </a:stretch>
        </p:blipFill>
        <p:spPr bwMode="black">
          <a:xfrm>
            <a:off x="7043738" y="6138863"/>
            <a:ext cx="1773237" cy="395287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4942800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_und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8594" name="think-cell Slide" r:id="rId11" imgW="360" imgH="360" progId="">
              <p:embed/>
            </p:oleObj>
          </a:graphicData>
        </a:graphic>
      </p:graphicFrame>
      <p:pic>
        <p:nvPicPr>
          <p:cNvPr id="10" name="Bild 12" descr="Musterbild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8" y="4402138"/>
            <a:ext cx="8510587" cy="2144712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4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319088" y="3340100"/>
            <a:ext cx="8186737" cy="318928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21" name="Titelplatzhalter 1"/>
          <p:cNvSpPr txBox="1">
            <a:spLocks/>
          </p:cNvSpPr>
          <p:nvPr userDrawn="1">
            <p:custDataLst>
              <p:tags r:id="rId5"/>
            </p:custDataLst>
          </p:nvPr>
        </p:nvSpPr>
        <p:spPr bwMode="ltGray">
          <a:xfrm>
            <a:off x="319088" y="3608974"/>
            <a:ext cx="7736400" cy="2920413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vert="horz" wrap="square" lIns="14400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-GroteskUlt" pitchFamily="2" charset="0"/>
              <a:ea typeface="+mj-ea"/>
              <a:cs typeface="TeleGrotesk Headline Ultra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 bwMode="white">
          <a:xfrm>
            <a:off x="319088" y="3608974"/>
            <a:ext cx="7736400" cy="1107996"/>
          </a:xfrm>
          <a:noFill/>
        </p:spPr>
        <p:txBody>
          <a:bodyPr lIns="144000" tIns="0">
            <a:sp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4942800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pic>
        <p:nvPicPr>
          <p:cNvPr id="11" name="Picture 23" descr="T_Logo_3c_Slogan_n_DE_EMF CD EXPORT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3"/>
          <a:srcRect r="69640"/>
          <a:stretch>
            <a:fillRect/>
          </a:stretch>
        </p:blipFill>
        <p:spPr bwMode="black">
          <a:xfrm>
            <a:off x="484188" y="5964238"/>
            <a:ext cx="908050" cy="396875"/>
          </a:xfrm>
          <a:prstGeom prst="rect">
            <a:avLst/>
          </a:prstGeom>
          <a:noFill/>
        </p:spPr>
      </p:pic>
      <p:pic>
        <p:nvPicPr>
          <p:cNvPr id="12" name="Picture 24" descr="T_Logo_3c_Slogan_n_DE_EMF CD EXPORT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/>
          <a:srcRect l="40712"/>
          <a:stretch>
            <a:fillRect/>
          </a:stretch>
        </p:blipFill>
        <p:spPr bwMode="black">
          <a:xfrm>
            <a:off x="6904037" y="5964238"/>
            <a:ext cx="1773238" cy="396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9618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0642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5E51288E-2672-4309-9252-76FD6580917C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52E9185D-C9FC-45FA-8FFF-58E5FC476BD6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04" y="1773238"/>
            <a:ext cx="8503445" cy="4283075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2663C95C-6192-49E4-8ECF-2F2123753266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75" name="think-cell Slide" r:id="rId26" imgW="360" imgH="360" progId="">
              <p:embed/>
            </p:oleObj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gray">
          <a:xfrm>
            <a:off x="304800" y="333375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304800" y="1773238"/>
            <a:ext cx="8496300" cy="42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 bwMode="gray">
          <a:xfrm>
            <a:off x="6804025" y="6432550"/>
            <a:ext cx="18002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B24C9FE0-FFF6-4D03-BFDB-FE5D4DB8811D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 bwMode="gray">
          <a:xfrm>
            <a:off x="2557463" y="6432550"/>
            <a:ext cx="41021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 bwMode="gray">
          <a:xfrm>
            <a:off x="8540750" y="6432550"/>
            <a:ext cx="2889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de-DE"/>
              <a:pPr/>
              <a:t>‹Nr.›</a:t>
            </a:fld>
            <a:endParaRPr lang="de-DE" dirty="0"/>
          </a:p>
        </p:txBody>
      </p:sp>
      <p:pic>
        <p:nvPicPr>
          <p:cNvPr id="1077" name="Picture 53" descr="T_Logo_3c_Slogan_p_DE_EMF CD EXPORT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27"/>
          <a:srcRect/>
          <a:stretch>
            <a:fillRect/>
          </a:stretch>
        </p:blipFill>
        <p:spPr bwMode="black">
          <a:xfrm>
            <a:off x="319088" y="6346825"/>
            <a:ext cx="2173287" cy="288925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51" r:id="rId7"/>
    <p:sldLayoutId id="2147483752" r:id="rId8"/>
    <p:sldLayoutId id="2147483753" r:id="rId9"/>
    <p:sldLayoutId id="2147483754" r:id="rId10"/>
    <p:sldLayoutId id="2147483760" r:id="rId11"/>
    <p:sldLayoutId id="2147483761" r:id="rId12"/>
    <p:sldLayoutId id="2147483762" r:id="rId13"/>
    <p:sldLayoutId id="2147483763" r:id="rId14"/>
    <p:sldLayoutId id="2147483766" r:id="rId15"/>
    <p:sldLayoutId id="2147483768" r:id="rId16"/>
    <p:sldLayoutId id="2147483770" r:id="rId17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2.xml"/><Relationship Id="rId13" Type="http://schemas.openxmlformats.org/officeDocument/2006/relationships/image" Target="../media/image24.jpeg"/><Relationship Id="rId18" Type="http://schemas.openxmlformats.org/officeDocument/2006/relationships/diagramColors" Target="../diagrams/colors13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2.xml"/><Relationship Id="rId12" Type="http://schemas.openxmlformats.org/officeDocument/2006/relationships/image" Target="../media/image23.jpeg"/><Relationship Id="rId17" Type="http://schemas.openxmlformats.org/officeDocument/2006/relationships/diagramQuickStyle" Target="../diagrams/quickStyle13.xml"/><Relationship Id="rId2" Type="http://schemas.openxmlformats.org/officeDocument/2006/relationships/notesSlide" Target="../notesSlides/notesSlide9.xml"/><Relationship Id="rId16" Type="http://schemas.openxmlformats.org/officeDocument/2006/relationships/diagramLayout" Target="../diagrams/layout13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2.xml"/><Relationship Id="rId11" Type="http://schemas.openxmlformats.org/officeDocument/2006/relationships/image" Target="../media/image22.jpeg"/><Relationship Id="rId5" Type="http://schemas.openxmlformats.org/officeDocument/2006/relationships/diagramLayout" Target="../diagrams/layout12.xml"/><Relationship Id="rId15" Type="http://schemas.openxmlformats.org/officeDocument/2006/relationships/diagramData" Target="../diagrams/data13.xml"/><Relationship Id="rId10" Type="http://schemas.openxmlformats.org/officeDocument/2006/relationships/image" Target="../media/image21.jpeg"/><Relationship Id="rId19" Type="http://schemas.microsoft.com/office/2007/relationships/diagramDrawing" Target="../diagrams/drawing13.xml"/><Relationship Id="rId4" Type="http://schemas.openxmlformats.org/officeDocument/2006/relationships/diagramData" Target="../diagrams/data12.xml"/><Relationship Id="rId9" Type="http://schemas.openxmlformats.org/officeDocument/2006/relationships/image" Target="../media/image13.jpeg"/><Relationship Id="rId14" Type="http://schemas.openxmlformats.org/officeDocument/2006/relationships/image" Target="../media/image2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4.xml"/><Relationship Id="rId13" Type="http://schemas.openxmlformats.org/officeDocument/2006/relationships/diagramColors" Target="../diagrams/colors15.xml"/><Relationship Id="rId3" Type="http://schemas.openxmlformats.org/officeDocument/2006/relationships/image" Target="../media/image12.jpeg"/><Relationship Id="rId7" Type="http://schemas.openxmlformats.org/officeDocument/2006/relationships/diagramQuickStyle" Target="../diagrams/quickStyle14.xml"/><Relationship Id="rId12" Type="http://schemas.openxmlformats.org/officeDocument/2006/relationships/diagramQuickStyle" Target="../diagrams/quickStyle1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4.xml"/><Relationship Id="rId11" Type="http://schemas.openxmlformats.org/officeDocument/2006/relationships/diagramLayout" Target="../diagrams/layout15.xml"/><Relationship Id="rId5" Type="http://schemas.openxmlformats.org/officeDocument/2006/relationships/diagramData" Target="../diagrams/data14.xml"/><Relationship Id="rId10" Type="http://schemas.openxmlformats.org/officeDocument/2006/relationships/diagramData" Target="../diagrams/data15.xml"/><Relationship Id="rId4" Type="http://schemas.openxmlformats.org/officeDocument/2006/relationships/image" Target="../media/image26.jpeg"/><Relationship Id="rId9" Type="http://schemas.microsoft.com/office/2007/relationships/diagramDrawing" Target="../diagrams/drawing14.xml"/><Relationship Id="rId14" Type="http://schemas.microsoft.com/office/2007/relationships/diagramDrawing" Target="../diagrams/drawing15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6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6.xml"/><Relationship Id="rId5" Type="http://schemas.openxmlformats.org/officeDocument/2006/relationships/diagramLayout" Target="../diagrams/layout16.xml"/><Relationship Id="rId4" Type="http://schemas.openxmlformats.org/officeDocument/2006/relationships/diagramData" Target="../diagrams/data16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7.xml"/><Relationship Id="rId3" Type="http://schemas.openxmlformats.org/officeDocument/2006/relationships/image" Target="../media/image27.jpeg"/><Relationship Id="rId7" Type="http://schemas.openxmlformats.org/officeDocument/2006/relationships/diagramColors" Target="../diagrams/colors1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7.xml"/><Relationship Id="rId5" Type="http://schemas.openxmlformats.org/officeDocument/2006/relationships/diagramLayout" Target="../diagrams/layout17.xml"/><Relationship Id="rId4" Type="http://schemas.openxmlformats.org/officeDocument/2006/relationships/diagramData" Target="../diagrams/data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diagramData" Target="../diagrams/data18.xml"/><Relationship Id="rId7" Type="http://schemas.microsoft.com/office/2007/relationships/diagramDrawing" Target="../diagrams/drawing18.xml"/><Relationship Id="rId12" Type="http://schemas.openxmlformats.org/officeDocument/2006/relationships/image" Target="../media/image32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8.xml"/><Relationship Id="rId11" Type="http://schemas.openxmlformats.org/officeDocument/2006/relationships/image" Target="../media/image31.gif"/><Relationship Id="rId5" Type="http://schemas.openxmlformats.org/officeDocument/2006/relationships/diagramQuickStyle" Target="../diagrams/quickStyle18.xml"/><Relationship Id="rId10" Type="http://schemas.openxmlformats.org/officeDocument/2006/relationships/image" Target="../media/image30.png"/><Relationship Id="rId4" Type="http://schemas.openxmlformats.org/officeDocument/2006/relationships/diagramLayout" Target="../diagrams/layout18.xml"/><Relationship Id="rId9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0.xml"/><Relationship Id="rId3" Type="http://schemas.openxmlformats.org/officeDocument/2006/relationships/diagramData" Target="../diagrams/data19.xml"/><Relationship Id="rId7" Type="http://schemas.microsoft.com/office/2007/relationships/diagramDrawing" Target="../diagrams/drawing19.xml"/><Relationship Id="rId12" Type="http://schemas.microsoft.com/office/2007/relationships/diagramDrawing" Target="../diagrams/drawing20.xml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9.xml"/><Relationship Id="rId11" Type="http://schemas.openxmlformats.org/officeDocument/2006/relationships/diagramColors" Target="../diagrams/colors20.xml"/><Relationship Id="rId5" Type="http://schemas.openxmlformats.org/officeDocument/2006/relationships/diagramQuickStyle" Target="../diagrams/quickStyle19.xml"/><Relationship Id="rId10" Type="http://schemas.openxmlformats.org/officeDocument/2006/relationships/diagramQuickStyle" Target="../diagrams/quickStyle20.xml"/><Relationship Id="rId4" Type="http://schemas.openxmlformats.org/officeDocument/2006/relationships/diagramLayout" Target="../diagrams/layout19.xml"/><Relationship Id="rId9" Type="http://schemas.openxmlformats.org/officeDocument/2006/relationships/diagramLayout" Target="../diagrams/layout2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1.xml"/><Relationship Id="rId3" Type="http://schemas.openxmlformats.org/officeDocument/2006/relationships/notesSlide" Target="../notesSlides/notesSlide16.xml"/><Relationship Id="rId7" Type="http://schemas.openxmlformats.org/officeDocument/2006/relationships/diagramLayout" Target="../diagrams/layout21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6" Type="http://schemas.openxmlformats.org/officeDocument/2006/relationships/diagramData" Target="../diagrams/data21.xml"/><Relationship Id="rId5" Type="http://schemas.openxmlformats.org/officeDocument/2006/relationships/image" Target="../media/image12.jpeg"/><Relationship Id="rId10" Type="http://schemas.microsoft.com/office/2007/relationships/diagramDrawing" Target="../diagrams/drawing21.xml"/><Relationship Id="rId4" Type="http://schemas.openxmlformats.org/officeDocument/2006/relationships/oleObject" Target="../embeddings/oleObject13.bin"/><Relationship Id="rId9" Type="http://schemas.openxmlformats.org/officeDocument/2006/relationships/diagramColors" Target="../diagrams/colors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7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13" Type="http://schemas.microsoft.com/office/2007/relationships/diagramDrawing" Target="../diagrams/drawing4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3.xml"/><Relationship Id="rId12" Type="http://schemas.openxmlformats.org/officeDocument/2006/relationships/diagramColors" Target="../diagrams/colors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3.xml"/><Relationship Id="rId11" Type="http://schemas.openxmlformats.org/officeDocument/2006/relationships/diagramQuickStyle" Target="../diagrams/quickStyle4.xml"/><Relationship Id="rId5" Type="http://schemas.openxmlformats.org/officeDocument/2006/relationships/diagramLayout" Target="../diagrams/layout3.xml"/><Relationship Id="rId10" Type="http://schemas.openxmlformats.org/officeDocument/2006/relationships/diagramLayout" Target="../diagrams/layout4.xml"/><Relationship Id="rId4" Type="http://schemas.openxmlformats.org/officeDocument/2006/relationships/diagramData" Target="../diagrams/data3.xml"/><Relationship Id="rId9" Type="http://schemas.openxmlformats.org/officeDocument/2006/relationships/diagramData" Target="../diagrams/data4.xml"/><Relationship Id="rId1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13" Type="http://schemas.microsoft.com/office/2007/relationships/diagramDrawing" Target="../diagrams/drawing6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5.xml"/><Relationship Id="rId12" Type="http://schemas.openxmlformats.org/officeDocument/2006/relationships/diagramColors" Target="../diagrams/colors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5.xml"/><Relationship Id="rId11" Type="http://schemas.openxmlformats.org/officeDocument/2006/relationships/diagramQuickStyle" Target="../diagrams/quickStyle6.xml"/><Relationship Id="rId5" Type="http://schemas.openxmlformats.org/officeDocument/2006/relationships/diagramLayout" Target="../diagrams/layout5.xml"/><Relationship Id="rId10" Type="http://schemas.openxmlformats.org/officeDocument/2006/relationships/diagramLayout" Target="../diagrams/layout6.xml"/><Relationship Id="rId4" Type="http://schemas.openxmlformats.org/officeDocument/2006/relationships/diagramData" Target="../diagrams/data5.xml"/><Relationship Id="rId9" Type="http://schemas.openxmlformats.org/officeDocument/2006/relationships/diagramData" Target="../diagrams/data6.xml"/><Relationship Id="rId14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13" Type="http://schemas.microsoft.com/office/2007/relationships/diagramDrawing" Target="../diagrams/drawing8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7.xml"/><Relationship Id="rId12" Type="http://schemas.openxmlformats.org/officeDocument/2006/relationships/diagramColors" Target="../diagrams/colors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7.xml"/><Relationship Id="rId11" Type="http://schemas.openxmlformats.org/officeDocument/2006/relationships/diagramQuickStyle" Target="../diagrams/quickStyle8.xml"/><Relationship Id="rId5" Type="http://schemas.openxmlformats.org/officeDocument/2006/relationships/diagramLayout" Target="../diagrams/layout7.xml"/><Relationship Id="rId10" Type="http://schemas.openxmlformats.org/officeDocument/2006/relationships/diagramLayout" Target="../diagrams/layout8.xml"/><Relationship Id="rId4" Type="http://schemas.openxmlformats.org/officeDocument/2006/relationships/diagramData" Target="../diagrams/data7.xml"/><Relationship Id="rId9" Type="http://schemas.openxmlformats.org/officeDocument/2006/relationships/diagramData" Target="../diagrams/data8.xml"/><Relationship Id="rId14" Type="http://schemas.openxmlformats.org/officeDocument/2006/relationships/image" Target="../media/image20.jpe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13" Type="http://schemas.microsoft.com/office/2007/relationships/diagramDrawing" Target="../diagrams/drawing11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0.xml"/><Relationship Id="rId12" Type="http://schemas.openxmlformats.org/officeDocument/2006/relationships/diagramColors" Target="../diagrams/colors1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0.xml"/><Relationship Id="rId11" Type="http://schemas.openxmlformats.org/officeDocument/2006/relationships/diagramQuickStyle" Target="../diagrams/quickStyle11.xml"/><Relationship Id="rId5" Type="http://schemas.openxmlformats.org/officeDocument/2006/relationships/diagramLayout" Target="../diagrams/layout10.xml"/><Relationship Id="rId10" Type="http://schemas.openxmlformats.org/officeDocument/2006/relationships/diagramLayout" Target="../diagrams/layout11.xml"/><Relationship Id="rId4" Type="http://schemas.openxmlformats.org/officeDocument/2006/relationships/diagramData" Target="../diagrams/data10.xml"/><Relationship Id="rId9" Type="http://schemas.openxmlformats.org/officeDocument/2006/relationships/diagramData" Target="../diagrams/data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Zeichnung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376420"/>
            <a:ext cx="9144000" cy="4566307"/>
          </a:xfrm>
          <a:prstGeom prst="rect">
            <a:avLst/>
          </a:prstGeom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384" name="think-cell Slide" r:id="rId5" imgW="360" imgH="360" progId="">
              <p:embed/>
            </p:oleObj>
          </a:graphicData>
        </a:graphic>
      </p:graphicFrame>
      <p:sp>
        <p:nvSpPr>
          <p:cNvPr id="10" name="Untertitel 9"/>
          <p:cNvSpPr>
            <a:spLocks noGrp="1"/>
          </p:cNvSpPr>
          <p:nvPr>
            <p:ph type="subTitle" idx="4294967295"/>
          </p:nvPr>
        </p:nvSpPr>
        <p:spPr>
          <a:xfrm>
            <a:off x="4738708" y="2625121"/>
            <a:ext cx="3124863" cy="587298"/>
          </a:xfrm>
        </p:spPr>
        <p:txBody>
          <a:bodyPr/>
          <a:lstStyle/>
          <a:p>
            <a:pPr algn="ctr"/>
            <a:r>
              <a:rPr lang="de-DE" sz="2800" dirty="0" smtClean="0">
                <a:solidFill>
                  <a:srgbClr val="E20074"/>
                </a:solidFill>
                <a:latin typeface="Tele-GroteskHal" pitchFamily="2" charset="0"/>
              </a:rPr>
              <a:t>Apprentices starting with</a:t>
            </a:r>
            <a:endParaRPr lang="de-DE" sz="2800" dirty="0">
              <a:solidFill>
                <a:srgbClr val="E20074"/>
              </a:solidFill>
              <a:latin typeface="Tele-GroteskHal" pitchFamily="2" charset="0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622142"/>
            <a:ext cx="9144000" cy="609398"/>
          </a:xfrm>
        </p:spPr>
        <p:txBody>
          <a:bodyPr/>
          <a:lstStyle/>
          <a:p>
            <a:pPr algn="ctr"/>
            <a:r>
              <a:rPr lang="de-DE" sz="4400" dirty="0" smtClean="0">
                <a:solidFill>
                  <a:schemeClr val="bg1">
                    <a:lumMod val="50000"/>
                  </a:schemeClr>
                </a:solidFill>
              </a:rPr>
              <a:t>„Cloud Kindergarten“</a:t>
            </a:r>
            <a:endParaRPr lang="de-DE" sz="4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pic>
        <p:nvPicPr>
          <p:cNvPr id="11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136542" y="3413777"/>
            <a:ext cx="2309059" cy="2210936"/>
          </a:xfrm>
          <a:prstGeom prst="rect">
            <a:avLst/>
          </a:prstGeom>
          <a:noFill/>
        </p:spPr>
      </p:pic>
      <p:pic>
        <p:nvPicPr>
          <p:cNvPr id="12" name="Grafik 11" descr="20160316_162233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93626" y="2683984"/>
            <a:ext cx="2210463" cy="2889881"/>
          </a:xfrm>
          <a:prstGeom prst="rect">
            <a:avLst/>
          </a:prstGeom>
        </p:spPr>
      </p:pic>
      <p:sp>
        <p:nvSpPr>
          <p:cNvPr id="15" name="Plus 14"/>
          <p:cNvSpPr/>
          <p:nvPr/>
        </p:nvSpPr>
        <p:spPr>
          <a:xfrm>
            <a:off x="4110825" y="3729162"/>
            <a:ext cx="906448" cy="842837"/>
          </a:xfrm>
          <a:prstGeom prst="mathPlu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2 Our Workflow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1" name="Diagramm 10"/>
          <p:cNvGraphicFramePr/>
          <p:nvPr/>
        </p:nvGraphicFramePr>
        <p:xfrm>
          <a:off x="1524000" y="1068081"/>
          <a:ext cx="6152350" cy="43929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2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648840" y="3988402"/>
            <a:ext cx="1506633" cy="1422676"/>
          </a:xfrm>
          <a:prstGeom prst="rect">
            <a:avLst/>
          </a:prstGeom>
          <a:noFill/>
        </p:spPr>
      </p:pic>
      <p:pic>
        <p:nvPicPr>
          <p:cNvPr id="357378" name="Picture 2" descr="\\HE100167e005\a48937014$\Home\Data\Präsentation\Pics\TelekomCloud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017910" y="3394769"/>
            <a:ext cx="1552564" cy="846817"/>
          </a:xfrm>
          <a:prstGeom prst="rect">
            <a:avLst/>
          </a:prstGeom>
          <a:noFill/>
        </p:spPr>
      </p:pic>
      <p:pic>
        <p:nvPicPr>
          <p:cNvPr id="357379" name="Picture 3" descr="\\HE100167e005\a48937014$\Home\Data\Präsentation\Pics\Cloud Computing.jpe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6200507" y="4359433"/>
            <a:ext cx="1214585" cy="1032396"/>
          </a:xfrm>
          <a:prstGeom prst="rect">
            <a:avLst/>
          </a:prstGeom>
          <a:noFill/>
        </p:spPr>
      </p:pic>
      <p:pic>
        <p:nvPicPr>
          <p:cNvPr id="357380" name="Picture 4" descr="\\HE100167e005\a48937014$\Home\Data\Präsentation\Pics\planung.jp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256698" y="1166576"/>
            <a:ext cx="1171497" cy="1156854"/>
          </a:xfrm>
          <a:prstGeom prst="rect">
            <a:avLst/>
          </a:prstGeom>
          <a:noFill/>
        </p:spPr>
      </p:pic>
      <p:pic>
        <p:nvPicPr>
          <p:cNvPr id="357381" name="Picture 5" descr="\\HE100167e005\a48937014$\Home\Data\Präsentation\Pics\office anwendungen.png.jp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702527" y="2406903"/>
            <a:ext cx="1770994" cy="617483"/>
          </a:xfrm>
          <a:prstGeom prst="rect">
            <a:avLst/>
          </a:prstGeom>
          <a:noFill/>
        </p:spPr>
      </p:pic>
      <p:pic>
        <p:nvPicPr>
          <p:cNvPr id="357382" name="Picture 6" descr="\\HE100167e005\a48937014$\Home\Data\Präsentation\Pics\creative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726501" y="1206674"/>
            <a:ext cx="1409398" cy="986854"/>
          </a:xfrm>
          <a:prstGeom prst="rect">
            <a:avLst/>
          </a:prstGeom>
          <a:noFill/>
        </p:spPr>
      </p:pic>
      <p:sp>
        <p:nvSpPr>
          <p:cNvPr id="19" name="Pfeil nach rechts 18"/>
          <p:cNvSpPr/>
          <p:nvPr/>
        </p:nvSpPr>
        <p:spPr>
          <a:xfrm>
            <a:off x="4363844" y="4334108"/>
            <a:ext cx="490652" cy="453483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20" name="Pfeil nach rechts 19"/>
          <p:cNvSpPr/>
          <p:nvPr/>
        </p:nvSpPr>
        <p:spPr>
          <a:xfrm rot="10800000">
            <a:off x="4354938" y="1781414"/>
            <a:ext cx="472072" cy="453483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4617604" y="1209204"/>
            <a:ext cx="3074113" cy="14234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self-management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tools to use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find solutions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discover talents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1527718" y="3811281"/>
            <a:ext cx="3059650" cy="1410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how to get on a demanding topic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explore new thematic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understand relations</a:t>
            </a:r>
          </a:p>
        </p:txBody>
      </p:sp>
      <p:sp>
        <p:nvSpPr>
          <p:cNvPr id="23" name="Datumsplatzhalter 2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F87B6B-6CC7-439C-ABC9-3BFE945B2AFF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24" name="Fußzeilenplatzhalter 2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25" name="Diagramm 24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0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1329595"/>
          </a:xfrm>
        </p:spPr>
        <p:txBody>
          <a:bodyPr/>
          <a:lstStyle/>
          <a:p>
            <a:r>
              <a:rPr lang="de-DE" sz="4800" dirty="0" smtClean="0"/>
              <a:t>2.	TelekomCloud +</a:t>
            </a:r>
            <a:br>
              <a:rPr lang="de-DE" sz="4800" dirty="0" smtClean="0"/>
            </a:br>
            <a:r>
              <a:rPr lang="de-DE" sz="4800" dirty="0" smtClean="0"/>
              <a:t>		OpenStack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CAC0D7-28A0-4EFD-9839-B1F6A5BE2FD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2.1 Refcard – Overview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sp>
        <p:nvSpPr>
          <p:cNvPr id="16" name="Pfeil nach rechts 15"/>
          <p:cNvSpPr/>
          <p:nvPr/>
        </p:nvSpPr>
        <p:spPr>
          <a:xfrm>
            <a:off x="4966008" y="2943922"/>
            <a:ext cx="512956" cy="453483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495682" y="5304079"/>
            <a:ext cx="295879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400" dirty="0" smtClean="0">
                <a:latin typeface="Tele-GroteskHal" pitchFamily="2" charset="0"/>
              </a:rPr>
              <a:t>Picture: Refcard Telekom SMB Cloud</a:t>
            </a:r>
          </a:p>
        </p:txBody>
      </p:sp>
      <p:pic>
        <p:nvPicPr>
          <p:cNvPr id="2" name="Picture 1" descr="\\HE100167e005\a48937014$\Home\Data\Präsentation\Pics\Telekom Small Business 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517065" y="1247775"/>
            <a:ext cx="2816613" cy="3896654"/>
          </a:xfrm>
          <a:prstGeom prst="rect">
            <a:avLst/>
          </a:prstGeom>
          <a:noFill/>
        </p:spPr>
      </p:pic>
      <p:graphicFrame>
        <p:nvGraphicFramePr>
          <p:cNvPr id="15" name="Diagramm 14"/>
          <p:cNvGraphicFramePr/>
          <p:nvPr/>
        </p:nvGraphicFramePr>
        <p:xfrm>
          <a:off x="275062" y="1099632"/>
          <a:ext cx="4557133" cy="41711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D7BDB-404C-4EC5-9F97-60D3D353C590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4" name="Diagramm 13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2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2.2 Our Deployment – Services We Use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2" name="Tabelle 11"/>
          <p:cNvGraphicFramePr>
            <a:graphicFrameLocks noGrp="1"/>
          </p:cNvGraphicFramePr>
          <p:nvPr/>
        </p:nvGraphicFramePr>
        <p:xfrm>
          <a:off x="869793" y="1077330"/>
          <a:ext cx="7404411" cy="4200912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3481017"/>
                <a:gridCol w="3923394"/>
              </a:tblGrid>
              <a:tr h="466768">
                <a:tc>
                  <a:txBody>
                    <a:bodyPr/>
                    <a:lstStyle/>
                    <a:p>
                      <a:r>
                        <a:rPr lang="de-DE" baseline="0" dirty="0" smtClean="0"/>
                        <a:t>Service Name</a:t>
                      </a:r>
                      <a:endParaRPr lang="de-DE" dirty="0"/>
                    </a:p>
                  </a:txBody>
                  <a:tcPr>
                    <a:solidFill>
                      <a:srgbClr val="E2007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Function</a:t>
                      </a:r>
                      <a:endParaRPr lang="de-DE" dirty="0"/>
                    </a:p>
                  </a:txBody>
                  <a:tcPr>
                    <a:solidFill>
                      <a:srgbClr val="E20074"/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va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Compute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Virtual</a:t>
                      </a:r>
                      <a:r>
                        <a:rPr lang="de-DE" baseline="0" dirty="0" smtClean="0"/>
                        <a:t> Machin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utron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Networking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Network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inder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Block Storage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Storage</a:t>
                      </a:r>
                      <a:r>
                        <a:rPr lang="de-DE" baseline="0" dirty="0" smtClean="0"/>
                        <a:t> Resourc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1" dirty="0" smtClean="0"/>
                        <a:t>Keystone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Identity Service)</a:t>
                      </a: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Identity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1" dirty="0" smtClean="0"/>
                        <a:t>Glance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Image Service)</a:t>
                      </a: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Imag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abbitMQ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Message Oriented Middleware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munication Management</a:t>
                      </a:r>
                      <a:endParaRPr lang="de-DE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r>
                        <a:rPr lang="de-DE" b="1" dirty="0" smtClean="0"/>
                        <a:t>Razor </a:t>
                      </a:r>
                      <a:r>
                        <a:rPr lang="de-DE" sz="1600" dirty="0" smtClean="0"/>
                        <a:t>(Bare-Metal Provisioning)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Process of Installing an Operating</a:t>
                      </a:r>
                      <a:r>
                        <a:rPr lang="de-DE" baseline="0" dirty="0" smtClean="0"/>
                        <a:t> System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eph S3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Object Storage)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Storage Resourc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D8928-8957-42B5-96BF-87F6E120DDB1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9" name="Diagramm 8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3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duotone>
              <a:prstClr val="black"/>
              <a:schemeClr val="tx2">
                <a:tint val="45000"/>
                <a:satMod val="400000"/>
              </a:schemeClr>
            </a:duotone>
            <a:lum contrast="25000"/>
          </a:blip>
          <a:srcRect/>
          <a:stretch>
            <a:fillRect l="475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2.2 </a:t>
            </a:r>
            <a:r>
              <a:rPr lang="de-DE" sz="3200" dirty="0" smtClean="0"/>
              <a:t>Our Deployment – </a:t>
            </a:r>
            <a:r>
              <a:rPr lang="de-DE" sz="3200" dirty="0" smtClean="0">
                <a:solidFill>
                  <a:schemeClr val="bg1"/>
                </a:solidFill>
              </a:rPr>
              <a:t>Datacenter</a:t>
            </a:r>
            <a:endParaRPr lang="de-DE" sz="3200" dirty="0">
              <a:solidFill>
                <a:schemeClr val="bg1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fld id="{1A1D9EC0-A949-479C-82A2-E0347736F634}" type="datetime1">
              <a:rPr lang="de-DE" smtClean="0">
                <a:solidFill>
                  <a:schemeClr val="bg1"/>
                </a:solidFill>
              </a:rPr>
              <a:pPr/>
              <a:t>16.09.2016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en-US" dirty="0" smtClean="0"/>
              <a:t>– OpenStack Summit 2016 –                       </a:t>
            </a:r>
            <a:r>
              <a:rPr lang="en-US" dirty="0" smtClean="0">
                <a:solidFill>
                  <a:schemeClr val="bg1"/>
                </a:solidFill>
              </a:rPr>
              <a:t>A. Perri, J. Schäfer, O. Klippel / Cloud Kindergarte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299053" y="1101005"/>
            <a:ext cx="4272948" cy="46679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brand new datacenter Biere near Magdeburg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largest cloud datacenter in german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40.000 m² area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high security through complex security system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12 emergency power generator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high availabilit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2400" dirty="0" smtClean="0">
                <a:solidFill>
                  <a:srgbClr val="E20074"/>
                </a:solidFill>
                <a:latin typeface="Tele-GroteskHal" pitchFamily="2" charset="0"/>
              </a:rPr>
              <a:t>	we give the resources you need !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endParaRPr lang="de-DE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de-DE" dirty="0" smtClean="0"/>
          </a:p>
        </p:txBody>
      </p:sp>
      <p:graphicFrame>
        <p:nvGraphicFramePr>
          <p:cNvPr id="15" name="Diagramm 14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7" name="Pfeil nach rechts 16"/>
          <p:cNvSpPr/>
          <p:nvPr/>
        </p:nvSpPr>
        <p:spPr>
          <a:xfrm>
            <a:off x="215153" y="4818202"/>
            <a:ext cx="307361" cy="337785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>
          <a:xfrm>
            <a:off x="8540750" y="6431563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smtClean="0">
                <a:solidFill>
                  <a:schemeClr val="bg1"/>
                </a:solidFill>
              </a:rPr>
              <a:pPr/>
              <a:t>14</a:t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6" presetClass="emph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Scale>
                                      <p:cBhvr>
                                        <p:cTn id="17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to x="80000" y="100000"/>
                                    </p:animScale>
                                    <p:anim by="(#ppt_w*0.10)" calcmode="lin" valueType="num">
                                      <p:cBhvr>
                                        <p:cTn id="18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by="(-#ppt_w*0.10)" calcmode="lin" valueType="num">
                                      <p:cBhvr>
                                        <p:cTn id="19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-480000">
                                      <p:cBhvr>
                                        <p:cTn id="20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1329595"/>
          </a:xfrm>
        </p:spPr>
        <p:txBody>
          <a:bodyPr/>
          <a:lstStyle/>
          <a:p>
            <a:r>
              <a:rPr lang="de-DE" sz="4800" dirty="0" smtClean="0"/>
              <a:t>3.	OpenStack in</a:t>
            </a:r>
            <a:br>
              <a:rPr lang="de-DE" sz="4800" dirty="0" smtClean="0"/>
            </a:br>
            <a:r>
              <a:rPr lang="de-DE" sz="4800" dirty="0" smtClean="0"/>
              <a:t>		Practic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EA54DA-34EB-4B38-8502-D3E17F325DF5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/>
        </p:nvSpPr>
        <p:spPr>
          <a:xfrm>
            <a:off x="817760" y="1888272"/>
            <a:ext cx="1211764" cy="9961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Developer</a:t>
            </a:r>
            <a:endParaRPr lang="de-DE" sz="2400" dirty="0" smtClean="0">
              <a:solidFill>
                <a:schemeClr val="bg1"/>
              </a:solidFill>
              <a:latin typeface="Tele-GroteskHal" pitchFamily="2" charset="0"/>
            </a:endParaRPr>
          </a:p>
        </p:txBody>
      </p:sp>
      <p:pic>
        <p:nvPicPr>
          <p:cNvPr id="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CF8D1-81D4-44B4-8FD4-7C44CF841D6B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6</a:t>
            </a:fld>
            <a:endParaRPr lang="de-DE" dirty="0"/>
          </a:p>
        </p:txBody>
      </p:sp>
      <p:graphicFrame>
        <p:nvGraphicFramePr>
          <p:cNvPr id="9" name="Diagramm 8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Rechteck 13"/>
          <p:cNvSpPr/>
          <p:nvPr/>
        </p:nvSpPr>
        <p:spPr>
          <a:xfrm>
            <a:off x="2432779" y="1996178"/>
            <a:ext cx="1128835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/>
              <a:t>Push Code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4012035" y="1888890"/>
            <a:ext cx="1211764" cy="9961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Git</a:t>
            </a:r>
          </a:p>
        </p:txBody>
      </p:sp>
      <p:sp>
        <p:nvSpPr>
          <p:cNvPr id="23" name="Rechteck 22"/>
          <p:cNvSpPr/>
          <p:nvPr/>
        </p:nvSpPr>
        <p:spPr>
          <a:xfrm>
            <a:off x="6976951" y="3928948"/>
            <a:ext cx="1211764" cy="9961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Deploy</a:t>
            </a:r>
            <a:endParaRPr lang="de-DE" sz="2400" dirty="0" smtClean="0">
              <a:solidFill>
                <a:schemeClr val="bg1"/>
              </a:solidFill>
              <a:latin typeface="Tele-GroteskHal" pitchFamily="2" charset="0"/>
            </a:endParaRPr>
          </a:p>
        </p:txBody>
      </p:sp>
      <p:pic>
        <p:nvPicPr>
          <p:cNvPr id="24" name="Grafik 23" descr="https://d30y9cdsu7xlg0.cloudfront.net/png/49773-200.png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89913" y="846650"/>
            <a:ext cx="1061049" cy="1061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Grafik 24" descr="https://upload.wikimedia.org/wikipedia/commons/thumb/1/18/GitLab_Logo.svg/2000px-GitLab_Logo.svg.png"/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628400" y="1360031"/>
            <a:ext cx="970816" cy="967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Grafik 26" descr="http://copting.de/wp-content/uploads/kreuz-rot.png"/>
          <p:cNvPicPr/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941751" y="4132193"/>
            <a:ext cx="1216324" cy="1388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Grafik 27" descr="http://www.gaestezimmer-hagen.de/images/haken_gruen.gif"/>
          <p:cNvPicPr/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005711" y="4444384"/>
            <a:ext cx="570018" cy="572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Rechteck 28"/>
          <p:cNvSpPr/>
          <p:nvPr/>
        </p:nvSpPr>
        <p:spPr>
          <a:xfrm>
            <a:off x="3612997" y="3746807"/>
            <a:ext cx="2007218" cy="15834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  <a:latin typeface="Tele-GroteskHal" pitchFamily="2" charset="0"/>
              </a:rPr>
              <a:t>GitLab CI/CI Runner</a:t>
            </a:r>
          </a:p>
          <a:p>
            <a:pPr algn="ctr"/>
            <a:endParaRPr lang="de-DE" dirty="0" smtClean="0">
              <a:solidFill>
                <a:schemeClr val="bg1"/>
              </a:solidFill>
            </a:endParaRPr>
          </a:p>
          <a:p>
            <a:pPr algn="r"/>
            <a:r>
              <a:rPr lang="de-DE" dirty="0" smtClean="0">
                <a:solidFill>
                  <a:schemeClr val="bg1"/>
                </a:solidFill>
                <a:latin typeface="Tele-GroteskHal" pitchFamily="2" charset="0"/>
              </a:rPr>
              <a:t>Build &amp; Test</a:t>
            </a:r>
          </a:p>
          <a:p>
            <a:pPr algn="ctr"/>
            <a:endParaRPr lang="de-DE" dirty="0" smtClean="0">
              <a:solidFill>
                <a:schemeClr val="bg1"/>
              </a:solidFill>
            </a:endParaRPr>
          </a:p>
        </p:txBody>
      </p:sp>
      <p:pic>
        <p:nvPicPr>
          <p:cNvPr id="26" name="Grafik 25" descr="\\HE100167e005\a48937014$\Home\Data\runner_logo.png"/>
          <p:cNvPicPr/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386396" y="4351253"/>
            <a:ext cx="1062798" cy="1069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6" name="Form 35"/>
          <p:cNvCxnSpPr>
            <a:endCxn id="18" idx="2"/>
          </p:cNvCxnSpPr>
          <p:nvPr/>
        </p:nvCxnSpPr>
        <p:spPr>
          <a:xfrm rot="10800000">
            <a:off x="1423643" y="2884448"/>
            <a:ext cx="2181919" cy="1494264"/>
          </a:xfrm>
          <a:prstGeom prst="bentConnector2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>
            <a:off x="5620215" y="4419601"/>
            <a:ext cx="1356736" cy="1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>
            <a:stCxn id="18" idx="3"/>
            <a:endCxn id="19" idx="1"/>
          </p:cNvCxnSpPr>
          <p:nvPr/>
        </p:nvCxnSpPr>
        <p:spPr>
          <a:xfrm>
            <a:off x="2029524" y="2386360"/>
            <a:ext cx="1982511" cy="618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>
            <a:stCxn id="19" idx="2"/>
            <a:endCxn id="29" idx="0"/>
          </p:cNvCxnSpPr>
          <p:nvPr/>
        </p:nvCxnSpPr>
        <p:spPr>
          <a:xfrm flipH="1">
            <a:off x="4616606" y="2885066"/>
            <a:ext cx="1311" cy="861741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0" name="Grafik 59" descr="icon-payroll1-300x300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836687" y="3423712"/>
            <a:ext cx="854090" cy="854090"/>
          </a:xfrm>
          <a:prstGeom prst="rect">
            <a:avLst/>
          </a:prstGeom>
        </p:spPr>
      </p:pic>
      <p:sp>
        <p:nvSpPr>
          <p:cNvPr id="61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3.1 OPenStack in Practice – Ci/CD in Git </a:t>
            </a:r>
            <a:endParaRPr lang="de-DE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lum contrast="4000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28025" y="1038169"/>
            <a:ext cx="5259950" cy="332399"/>
          </a:xfrm>
        </p:spPr>
        <p:txBody>
          <a:bodyPr/>
          <a:lstStyle/>
          <a:p>
            <a:r>
              <a:rPr lang="de-DE" sz="2400" dirty="0" smtClean="0">
                <a:solidFill>
                  <a:schemeClr val="bg1"/>
                </a:solidFill>
              </a:rPr>
              <a:t>„Creating a Tenant With OpenStack“ 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fld id="{A1954A6E-D9E1-42C7-8972-4EEDC3DCC721}" type="datetime1">
              <a:rPr lang="de-DE" smtClean="0">
                <a:solidFill>
                  <a:schemeClr val="bg1"/>
                </a:solidFill>
              </a:rPr>
              <a:pPr/>
              <a:t>16.09.2016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– OpenStack Summit 2016 –                       A. Perri, J. Schäfer, O. Klippel / Cloud Kindergarte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1563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smtClean="0">
                <a:solidFill>
                  <a:schemeClr val="bg1"/>
                </a:solidFill>
              </a:rPr>
              <a:pPr/>
              <a:t>17</a:t>
            </a:fld>
            <a:endParaRPr lang="de-DE" dirty="0">
              <a:solidFill>
                <a:schemeClr val="bg1"/>
              </a:solidFill>
            </a:endParaRPr>
          </a:p>
        </p:txBody>
      </p:sp>
      <p:graphicFrame>
        <p:nvGraphicFramePr>
          <p:cNvPr id="8" name="Diagramm 7"/>
          <p:cNvGraphicFramePr/>
          <p:nvPr/>
        </p:nvGraphicFramePr>
        <p:xfrm>
          <a:off x="837560" y="1397000"/>
          <a:ext cx="7399724" cy="41278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9" name="Diagramm 8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0" name="Titel 9"/>
          <p:cNvSpPr txBox="1">
            <a:spLocks/>
          </p:cNvSpPr>
          <p:nvPr/>
        </p:nvSpPr>
        <p:spPr bwMode="gray">
          <a:xfrm>
            <a:off x="304800" y="333375"/>
            <a:ext cx="8496300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3.2 OPenStack in Practice – Video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4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27682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773238"/>
            <a:ext cx="9144000" cy="1329595"/>
          </a:xfrm>
        </p:spPr>
        <p:txBody>
          <a:bodyPr/>
          <a:lstStyle/>
          <a:p>
            <a:pPr algn="ctr"/>
            <a:r>
              <a:rPr lang="de-DE" sz="4800" dirty="0" smtClean="0">
                <a:solidFill>
                  <a:schemeClr val="bg1">
                    <a:lumMod val="50000"/>
                  </a:schemeClr>
                </a:solidFill>
              </a:rPr>
              <a:t>Thank you for </a:t>
            </a:r>
            <a:br>
              <a:rPr lang="de-DE" sz="4800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de-DE" sz="4800" dirty="0" smtClean="0">
                <a:solidFill>
                  <a:schemeClr val="bg1">
                    <a:lumMod val="50000"/>
                  </a:schemeClr>
                </a:solidFill>
              </a:rPr>
              <a:t>your Attention !!</a:t>
            </a:r>
            <a:endParaRPr lang="de-DE" sz="4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983C3-0AE4-4ED5-A71B-CF1C3264DB82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327686" name="AutoShape 6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88" name="AutoShape 8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90" name="AutoShape 10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18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8226" name="think-cell Slide" r:id="rId4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358697"/>
            <a:ext cx="9144000" cy="443198"/>
          </a:xfrm>
        </p:spPr>
        <p:txBody>
          <a:bodyPr/>
          <a:lstStyle/>
          <a:p>
            <a:pPr algn="ctr"/>
            <a:r>
              <a:rPr lang="de-DE" sz="3200" dirty="0" smtClean="0"/>
              <a:t>Sources</a:t>
            </a:r>
            <a:endParaRPr lang="de-DE" sz="3200" dirty="0"/>
          </a:p>
        </p:txBody>
      </p:sp>
      <p:sp>
        <p:nvSpPr>
          <p:cNvPr id="5" name="Textfeld 4"/>
          <p:cNvSpPr txBox="1"/>
          <p:nvPr/>
        </p:nvSpPr>
        <p:spPr>
          <a:xfrm>
            <a:off x="3176" y="1248937"/>
            <a:ext cx="9140824" cy="15645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dirty="0" smtClean="0"/>
              <a:t>	</a:t>
            </a: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</p:txBody>
      </p:sp>
      <p:pic>
        <p:nvPicPr>
          <p:cNvPr id="11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3" name="Diagramm 12"/>
          <p:cNvGraphicFramePr/>
          <p:nvPr/>
        </p:nvGraphicFramePr>
        <p:xfrm>
          <a:off x="333955" y="1025293"/>
          <a:ext cx="8253454" cy="43718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D40521-AC55-46B8-AD88-A70E7283CDA6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19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hidden">
          <a:xfrm>
            <a:off x="1757" y="745"/>
            <a:ext cx="9140486" cy="6857255"/>
          </a:xfrm>
          <a:prstGeom prst="rect">
            <a:avLst/>
          </a:prstGeom>
        </p:spPr>
      </p:pic>
      <p:sp>
        <p:nvSpPr>
          <p:cNvPr id="48133" name="Rectangle 5"/>
          <p:cNvSpPr>
            <a:spLocks noGrp="1"/>
          </p:cNvSpPr>
          <p:nvPr>
            <p:ph type="title"/>
          </p:nvPr>
        </p:nvSpPr>
        <p:spPr>
          <a:xfrm>
            <a:off x="326551" y="266693"/>
            <a:ext cx="8490331" cy="443198"/>
          </a:xfrm>
        </p:spPr>
        <p:txBody>
          <a:bodyPr/>
          <a:lstStyle/>
          <a:p>
            <a:r>
              <a:rPr lang="de-DE" sz="3200" dirty="0" smtClean="0">
                <a:solidFill>
                  <a:schemeClr val="bg1"/>
                </a:solidFill>
              </a:rPr>
              <a:t>Agenda</a:t>
            </a: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/>
          </p:nvPr>
        </p:nvGraphicFramePr>
        <p:xfrm>
          <a:off x="1782638" y="784642"/>
          <a:ext cx="5578666" cy="5293427"/>
        </p:xfrm>
        <a:graphic>
          <a:graphicData uri="http://schemas.openxmlformats.org/drawingml/2006/table">
            <a:tbl>
              <a:tblPr bandRow="1">
                <a:tableStyleId>{8EC20E35-A176-4012-BC5E-935CFFF8708E}</a:tableStyleId>
              </a:tblPr>
              <a:tblGrid>
                <a:gridCol w="778471"/>
                <a:gridCol w="4800195"/>
              </a:tblGrid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1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Introduction</a:t>
                      </a:r>
                    </a:p>
                  </a:txBody>
                  <a:tcPr marL="72568" marR="72568" marT="36280" marB="36280"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1196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</a:t>
                      </a: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</a:t>
                      </a: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1.1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Who Are We?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4055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</a:t>
                      </a: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1.2</a:t>
                      </a:r>
                      <a:endParaRPr lang="de-DE" sz="2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Our Workflow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2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TelekomCLOUD</a:t>
                      </a:r>
                      <a:r>
                        <a:rPr lang="de-DE" sz="2800" b="1" baseline="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 + OpenStack</a:t>
                      </a:r>
                      <a:endParaRPr lang="de-DE" sz="2800" b="1" dirty="0" smtClean="0">
                        <a:solidFill>
                          <a:schemeClr val="bg1"/>
                        </a:solidFill>
                        <a:latin typeface="Tele-GroteskNor" pitchFamily="2" charset="0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1196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</a:t>
                      </a: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2.1</a:t>
                      </a:r>
                      <a:endParaRPr lang="de-DE" sz="2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Refcard Overview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1196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</a:t>
                      </a: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2.2</a:t>
                      </a:r>
                      <a:endParaRPr lang="de-DE" sz="2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Our Deployment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3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OpenStack In Practice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4000"/>
                        </a:lnSpc>
                      </a:pPr>
                      <a:r>
                        <a:rPr lang="de-DE" sz="2200" b="0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       3.1</a:t>
                      </a:r>
                      <a:endParaRPr lang="de-DE" sz="2200" b="0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spcAft>
                          <a:spcPts val="0"/>
                        </a:spcAft>
                        <a:buClrTx/>
                        <a:buSzPct val="150000"/>
                        <a:buFont typeface="+mj-lt"/>
                        <a:buNone/>
                        <a:tabLst/>
                        <a:defRPr/>
                      </a:pPr>
                      <a:r>
                        <a:rPr lang="de-DE" sz="2200" kern="1200" dirty="0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CI / CD in Git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4000"/>
                        </a:lnSpc>
                      </a:pPr>
                      <a:r>
                        <a:rPr lang="de-DE" sz="2200" b="0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      3.2</a:t>
                      </a:r>
                      <a:endParaRPr lang="de-DE" sz="2200" b="0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spcAft>
                          <a:spcPts val="0"/>
                        </a:spcAft>
                        <a:buClrTx/>
                        <a:buSzPct val="150000"/>
                        <a:buFont typeface="+mj-lt"/>
                        <a:buNone/>
                        <a:tabLst/>
                        <a:defRPr/>
                      </a:pPr>
                      <a:r>
                        <a:rPr lang="de-DE" sz="2200" kern="1200" dirty="0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Video „Creating a </a:t>
                      </a:r>
                      <a:r>
                        <a:rPr lang="de-DE" sz="2200" kern="1200" dirty="0" err="1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tenant</a:t>
                      </a:r>
                      <a:r>
                        <a:rPr lang="de-DE" sz="2200" kern="1200" dirty="0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 with OpenStack“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4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Q &amp; A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362497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87249260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1357295"/>
          </a:xfrm>
        </p:spPr>
        <p:txBody>
          <a:bodyPr/>
          <a:lstStyle/>
          <a:p>
            <a:r>
              <a:rPr lang="de-DE" sz="4800" dirty="0" smtClean="0"/>
              <a:t>4.	Questions &amp; </a:t>
            </a:r>
            <a:br>
              <a:rPr lang="de-DE" sz="4800" dirty="0" smtClean="0"/>
            </a:br>
            <a:r>
              <a:rPr lang="de-DE" sz="4800" dirty="0" smtClean="0"/>
              <a:t>		Answer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A1AD7-90B3-47D7-BDAD-951EBC8E25BC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678647"/>
          </a:xfrm>
        </p:spPr>
        <p:txBody>
          <a:bodyPr/>
          <a:lstStyle/>
          <a:p>
            <a:r>
              <a:rPr lang="de-DE" sz="4800" dirty="0" smtClean="0"/>
              <a:t>1.	Introduc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2DF56-F3D1-445D-AF0D-4CE07C1FAC3B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9"/>
          <p:cNvSpPr txBox="1">
            <a:spLocks/>
          </p:cNvSpPr>
          <p:nvPr/>
        </p:nvSpPr>
        <p:spPr>
          <a:xfrm>
            <a:off x="304800" y="333375"/>
            <a:ext cx="8496300" cy="44319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1.1 Who</a:t>
            </a:r>
            <a:r>
              <a:rPr kumimoji="0" lang="de-DE" sz="32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 are we? </a:t>
            </a: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– </a:t>
            </a: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Mentor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  <p:pic>
        <p:nvPicPr>
          <p:cNvPr id="12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3" name="Diagramm 12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6" name="Diagramm 15"/>
          <p:cNvGraphicFramePr/>
          <p:nvPr/>
        </p:nvGraphicFramePr>
        <p:xfrm>
          <a:off x="421059" y="1313971"/>
          <a:ext cx="5334283" cy="4195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pic>
        <p:nvPicPr>
          <p:cNvPr id="21" name="Grafik 20" descr="FKl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963431" y="1436914"/>
            <a:ext cx="2617694" cy="393422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1 Who Are We </a:t>
            </a:r>
            <a:r>
              <a:rPr lang="de-DE" sz="3200" dirty="0" smtClean="0"/>
              <a:t>? – </a:t>
            </a:r>
            <a:r>
              <a:rPr lang="de-DE" sz="3200" dirty="0" err="1" smtClean="0"/>
              <a:t>Apprentice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9" name="Diagramm 8"/>
          <p:cNvGraphicFramePr/>
          <p:nvPr/>
        </p:nvGraphicFramePr>
        <p:xfrm>
          <a:off x="349405" y="1048214"/>
          <a:ext cx="7545658" cy="4460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54C9F-BC2D-41CA-8067-875A5E05D72A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5" name="Diagramm 14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354305" name="Picture 1" descr="\\HE100167e005\a48937014$\Home\Data\Präsentation\Pics\profile-image-display.jspa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712550" y="1051204"/>
            <a:ext cx="1980409" cy="244503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1 Who Are We </a:t>
            </a:r>
            <a:r>
              <a:rPr lang="de-DE" sz="3200" dirty="0" smtClean="0"/>
              <a:t>? – Student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9" name="Diagramm 8"/>
          <p:cNvGraphicFramePr/>
          <p:nvPr/>
        </p:nvGraphicFramePr>
        <p:xfrm>
          <a:off x="349405" y="1048214"/>
          <a:ext cx="7545658" cy="4460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6C24C-7DE7-4770-83FC-FC8981088158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3" name="Diagramm 12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18" name="Picture 2" descr="\\HE100167e005\a48937014$\Home\Data\Präsentation\Pics\IMG_20160902_095258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800371" y="1079331"/>
            <a:ext cx="1824468" cy="243262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1 Who Are We </a:t>
            </a:r>
            <a:r>
              <a:rPr lang="de-DE" sz="3200" dirty="0" smtClean="0"/>
              <a:t>? </a:t>
            </a:r>
            <a:r>
              <a:rPr lang="de-DE" sz="3200" dirty="0" smtClean="0"/>
              <a:t>– </a:t>
            </a:r>
            <a:r>
              <a:rPr lang="de-DE" sz="3200" dirty="0" err="1" smtClean="0"/>
              <a:t>Apprentice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9" name="Diagramm 8"/>
          <p:cNvGraphicFramePr/>
          <p:nvPr/>
        </p:nvGraphicFramePr>
        <p:xfrm>
          <a:off x="349405" y="1048214"/>
          <a:ext cx="7545658" cy="4460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1402A7-2164-491E-8253-2BFAC23EF71C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3" name="Diagramm 12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14" name="Picture 3" descr="\\HE100167e005\a48937014$\Home\Data\Präsentation\Pics\OliverKlippel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419795" y="1055140"/>
            <a:ext cx="2316951" cy="218752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1.2 Our Workflow – A. Perri</a:t>
            </a:r>
          </a:p>
        </p:txBody>
      </p:sp>
      <p:grpSp>
        <p:nvGrpSpPr>
          <p:cNvPr id="2" name="Gruppieren 20"/>
          <p:cNvGrpSpPr/>
          <p:nvPr/>
        </p:nvGrpSpPr>
        <p:grpSpPr>
          <a:xfrm>
            <a:off x="266747" y="4541732"/>
            <a:ext cx="4008773" cy="816314"/>
            <a:chOff x="181548" y="4645342"/>
            <a:chExt cx="4419394" cy="900024"/>
          </a:xfrm>
        </p:grpSpPr>
        <p:sp>
          <p:nvSpPr>
            <p:cNvPr id="23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24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Get an Overview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2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understand the task/topic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clear up ques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get inspired by other refcards</a:t>
              </a:r>
            </a:p>
          </p:txBody>
        </p:sp>
        <p:sp>
          <p:nvSpPr>
            <p:cNvPr id="2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1</a:t>
              </a:r>
            </a:p>
          </p:txBody>
        </p:sp>
      </p:grpSp>
      <p:grpSp>
        <p:nvGrpSpPr>
          <p:cNvPr id="3" name="Gruppieren 44"/>
          <p:cNvGrpSpPr/>
          <p:nvPr/>
        </p:nvGrpSpPr>
        <p:grpSpPr>
          <a:xfrm>
            <a:off x="1805586" y="3458938"/>
            <a:ext cx="4008773" cy="816314"/>
            <a:chOff x="181548" y="4645342"/>
            <a:chExt cx="4419394" cy="900024"/>
          </a:xfrm>
        </p:grpSpPr>
        <p:sp>
          <p:nvSpPr>
            <p:cNvPr id="46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47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Conception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what is important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what is asked for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 time management</a:t>
              </a: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4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 smtClean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2</a:t>
              </a:r>
              <a:endParaRPr lang="de-DE" sz="1500" dirty="0">
                <a:solidFill>
                  <a:srgbClr val="FFFFFF"/>
                </a:solidFill>
                <a:latin typeface="TeleGrotesk Headline Ultra" pitchFamily="2" charset="0"/>
                <a:ea typeface="Arial Unicode MS"/>
                <a:cs typeface="Arial Unicode MS"/>
              </a:endParaRPr>
            </a:p>
          </p:txBody>
        </p:sp>
      </p:grpSp>
      <p:grpSp>
        <p:nvGrpSpPr>
          <p:cNvPr id="4" name="Gruppieren 49"/>
          <p:cNvGrpSpPr/>
          <p:nvPr/>
        </p:nvGrpSpPr>
        <p:grpSpPr>
          <a:xfrm>
            <a:off x="3344425" y="2376146"/>
            <a:ext cx="4008773" cy="816314"/>
            <a:chOff x="181548" y="4645342"/>
            <a:chExt cx="4419394" cy="900024"/>
          </a:xfrm>
        </p:grpSpPr>
        <p:sp>
          <p:nvSpPr>
            <p:cNvPr id="51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3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Documentation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54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gather information unfiltered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screen informatio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organize them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55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 smtClean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3</a:t>
              </a:r>
              <a:endParaRPr lang="de-DE" sz="1500" dirty="0">
                <a:solidFill>
                  <a:srgbClr val="FFFFFF"/>
                </a:solidFill>
                <a:latin typeface="TeleGrotesk Headline Ultra" pitchFamily="2" charset="0"/>
                <a:ea typeface="Arial Unicode MS"/>
                <a:cs typeface="Arial Unicode MS"/>
              </a:endParaRPr>
            </a:p>
          </p:txBody>
        </p:sp>
      </p:grpSp>
      <p:grpSp>
        <p:nvGrpSpPr>
          <p:cNvPr id="5" name="Gruppieren 55"/>
          <p:cNvGrpSpPr/>
          <p:nvPr/>
        </p:nvGrpSpPr>
        <p:grpSpPr>
          <a:xfrm>
            <a:off x="4883263" y="1293353"/>
            <a:ext cx="4008773" cy="816314"/>
            <a:chOff x="181548" y="4645342"/>
            <a:chExt cx="4419394" cy="900024"/>
          </a:xfrm>
        </p:grpSpPr>
        <p:sp>
          <p:nvSpPr>
            <p:cNvPr id="58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9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Create Refcard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60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writing down (structured)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comply with the corporate desig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use supporting illustra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61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 smtClean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4</a:t>
              </a:r>
              <a:endParaRPr lang="de-DE" sz="1500" dirty="0">
                <a:solidFill>
                  <a:srgbClr val="FFFFFF"/>
                </a:solidFill>
                <a:latin typeface="TeleGrotesk Headline Ultra" pitchFamily="2" charset="0"/>
                <a:ea typeface="Arial Unicode MS"/>
                <a:cs typeface="Arial Unicode MS"/>
              </a:endParaRPr>
            </a:p>
          </p:txBody>
        </p:sp>
      </p:grpSp>
      <p:sp>
        <p:nvSpPr>
          <p:cNvPr id="25" name="Foliennummernplatzhalter 2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2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27" name="Diagramm 26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0" name="Datumsplatzhalter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33C4E7-0BBE-41C6-9542-596885498EFA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31" name="Fußzeilenplatzhalter 3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8460907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2 Our Workflow - J. Schäfer/O. Klippel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4" name="Diagramm 13"/>
          <p:cNvGraphicFramePr/>
          <p:nvPr/>
        </p:nvGraphicFramePr>
        <p:xfrm>
          <a:off x="959003" y="840058"/>
          <a:ext cx="7389543" cy="47504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6D52A-F28F-4E9B-954E-5002BFF7A1B4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2" name="Diagramm 11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9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vFUl.HeU.ODiM5lGiN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o5VaWD6UCX6CwEccqN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cFzc6NJU.uNsjx08YQ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SQmn5SC0670Esdl5YC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86bAKNkuIN9FReMdM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xyv5yaMEmr45gqOtRe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5mm2m2Q0.YkUkrPvdj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OXNuRzOUSFtRFKPfcW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XNec9CQE.lu4sBAr6z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bq8MdRfEWID4GqyIjv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IO_BqzvE2iRr9MX5uT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q_7YG62kK7j6GQRtDw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I3I7e2UiVG3_HdrPkLw"/>
</p:tagLst>
</file>

<file path=ppt/theme/theme1.xml><?xml version="1.0" encoding="utf-8"?>
<a:theme xmlns:a="http://schemas.openxmlformats.org/drawingml/2006/main" name="T_PPT_Master_2007_4_3_D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_PPT_Master_2007_4_3_D</Template>
  <TotalTime>0</TotalTime>
  <Words>1458</Words>
  <Application>Microsoft Office PowerPoint</Application>
  <PresentationFormat>Bildschirmpräsentation (4:3)</PresentationFormat>
  <Paragraphs>326</Paragraphs>
  <Slides>20</Slides>
  <Notes>17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2" baseType="lpstr">
      <vt:lpstr>T_PPT_Master_2007_4_3_D</vt:lpstr>
      <vt:lpstr>think-cell Slide</vt:lpstr>
      <vt:lpstr>„Cloud Kindergarten“</vt:lpstr>
      <vt:lpstr>Agenda</vt:lpstr>
      <vt:lpstr>1. Introduction</vt:lpstr>
      <vt:lpstr>Folie 4</vt:lpstr>
      <vt:lpstr>1.1 Who Are We ? – Apprentice</vt:lpstr>
      <vt:lpstr>1.1 Who Are We ? – Student</vt:lpstr>
      <vt:lpstr>1.1 Who Are We ? – Apprentice</vt:lpstr>
      <vt:lpstr>1.2 Our Workflow – A. Perri</vt:lpstr>
      <vt:lpstr>1.2 Our Workflow - J. Schäfer/O. Klippel</vt:lpstr>
      <vt:lpstr>1.2 Our Workflow</vt:lpstr>
      <vt:lpstr>2. TelekomCloud +   OpenStack</vt:lpstr>
      <vt:lpstr>2.1 Refcard – Overview</vt:lpstr>
      <vt:lpstr>2.2 Our Deployment – Services We Use</vt:lpstr>
      <vt:lpstr>2.2 Our Deployment – Datacenter</vt:lpstr>
      <vt:lpstr>3. OpenStack in   Practice</vt:lpstr>
      <vt:lpstr>3.1 OPenStack in Practice – Ci/CD in Git </vt:lpstr>
      <vt:lpstr>„Creating a Tenant With OpenStack“ </vt:lpstr>
      <vt:lpstr>Thank you for  your Attention !!</vt:lpstr>
      <vt:lpstr>Sources</vt:lpstr>
      <vt:lpstr>4. Questions &amp;    Answers</vt:lpstr>
    </vt:vector>
  </TitlesOfParts>
  <Company>Deutsche Telekom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Computing</dc:title>
  <dc:creator>Adriano Perri</dc:creator>
  <cp:lastModifiedBy>Adriano Perri</cp:lastModifiedBy>
  <cp:revision>698</cp:revision>
  <cp:lastPrinted>2012-09-04T09:22:48Z</cp:lastPrinted>
  <dcterms:created xsi:type="dcterms:W3CDTF">2016-04-21T06:54:03Z</dcterms:created>
  <dcterms:modified xsi:type="dcterms:W3CDTF">2016-09-16T11:35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